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328" r:id="rId3"/>
    <p:sldId id="281" r:id="rId4"/>
    <p:sldId id="275" r:id="rId5"/>
    <p:sldId id="298" r:id="rId6"/>
    <p:sldId id="283" r:id="rId7"/>
    <p:sldId id="301" r:id="rId8"/>
    <p:sldId id="329" r:id="rId9"/>
    <p:sldId id="263" r:id="rId10"/>
    <p:sldId id="290" r:id="rId11"/>
    <p:sldId id="260" r:id="rId12"/>
    <p:sldId id="327" r:id="rId13"/>
    <p:sldId id="262" r:id="rId14"/>
    <p:sldId id="264" r:id="rId15"/>
    <p:sldId id="258" r:id="rId16"/>
    <p:sldId id="292" r:id="rId17"/>
    <p:sldId id="277" r:id="rId18"/>
    <p:sldId id="278" r:id="rId19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937D8CE-9383-4371-ABD4-894DEE0AB49D}">
          <p14:sldIdLst>
            <p14:sldId id="256"/>
            <p14:sldId id="328"/>
            <p14:sldId id="281"/>
            <p14:sldId id="275"/>
            <p14:sldId id="298"/>
            <p14:sldId id="283"/>
            <p14:sldId id="301"/>
            <p14:sldId id="329"/>
            <p14:sldId id="263"/>
            <p14:sldId id="290"/>
            <p14:sldId id="260"/>
            <p14:sldId id="327"/>
            <p14:sldId id="262"/>
            <p14:sldId id="264"/>
            <p14:sldId id="258"/>
            <p14:sldId id="292"/>
            <p14:sldId id="277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C63B"/>
    <a:srgbClr val="ECF4D8"/>
    <a:srgbClr val="E4EFC7"/>
    <a:srgbClr val="6CB5FF"/>
    <a:srgbClr val="008A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35" autoAdjust="0"/>
    <p:restoredTop sz="94660"/>
  </p:normalViewPr>
  <p:slideViewPr>
    <p:cSldViewPr>
      <p:cViewPr varScale="1">
        <p:scale>
          <a:sx n="109" d="100"/>
          <a:sy n="109" d="100"/>
        </p:scale>
        <p:origin x="276" y="114"/>
      </p:cViewPr>
      <p:guideLst>
        <p:guide orient="horz" pos="346"/>
        <p:guide pos="438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121" d="100"/>
          <a:sy n="121" d="100"/>
        </p:scale>
        <p:origin x="493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41212087545838"/>
          <c:y val="9.6565999873451006E-2"/>
          <c:w val="0.37625402733029673"/>
          <c:h val="0.8163411040504752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70-4306-B8B3-2E23424BD8AF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A70-4306-B8B3-2E23424BD8AF}"/>
              </c:ext>
            </c:extLst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Мальчики</c:v>
                </c:pt>
                <c:pt idx="1">
                  <c:v>Девочк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7179</c:v>
                </c:pt>
                <c:pt idx="1">
                  <c:v>25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70-4306-B8B3-2E23424BD8A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52200130069973738"/>
          <c:y val="0.36186103535416736"/>
          <c:w val="0.25467245868987171"/>
          <c:h val="0.314266000219411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41212087545838"/>
          <c:y val="9.6565999873450992E-2"/>
          <c:w val="0.37625402733029673"/>
          <c:h val="0.8163411040504752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70-4306-B8B3-2E23424BD8AF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A70-4306-B8B3-2E23424BD8AF}"/>
              </c:ext>
            </c:extLst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Мальчики</c:v>
                </c:pt>
                <c:pt idx="1">
                  <c:v>Девочк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705</c:v>
                </c:pt>
                <c:pt idx="1">
                  <c:v>5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70-4306-B8B3-2E23424BD8A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54010190001313618"/>
          <c:y val="0.5723012063023144"/>
          <c:w val="0.25467245868987171"/>
          <c:h val="0.314266000219411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847335924674483"/>
          <c:y val="3.1181804082278823E-2"/>
          <c:w val="0.37625402733029661"/>
          <c:h val="0.81634110405047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A2F-4665-A8E3-4125F5B719FF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2F-4665-A8E3-4125F5B719FF}"/>
              </c:ext>
            </c:extLst>
          </c:dPt>
          <c:dLbls>
            <c:dLbl>
              <c:idx val="0"/>
              <c:layout>
                <c:manualLayout>
                  <c:x val="2.1428676869910582E-2"/>
                  <c:y val="-0.2461015504988458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baseline="0" dirty="0">
                        <a:effectLst/>
                      </a:rPr>
                      <a:t>54 92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2F-4665-A8E3-4125F5B719FF}"/>
                </c:ext>
              </c:extLst>
            </c:dLbl>
            <c:dLbl>
              <c:idx val="1"/>
              <c:layout>
                <c:manualLayout>
                  <c:x val="8.1496915174884443E-2"/>
                  <c:y val="0.39499526027310866"/>
                </c:manualLayout>
              </c:layout>
              <c:tx>
                <c:rich>
                  <a:bodyPr/>
                  <a:lstStyle/>
                  <a:p>
                    <a:r>
                      <a:rPr lang="en-US" sz="1600" b="0" i="0" u="none" strike="noStrike" baseline="0" dirty="0"/>
                      <a:t>110 51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2F-4665-A8E3-4125F5B719F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о заболеванию Всего</c:v>
                </c:pt>
                <c:pt idx="1">
                  <c:v>С профилактической целью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1920</c:v>
                </c:pt>
                <c:pt idx="1">
                  <c:v>1105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2F-4665-A8E3-4125F5B719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67062722835009059"/>
          <c:y val="0.48947896468662133"/>
          <c:w val="0.32937277164990941"/>
          <c:h val="0.371579143142326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36141256184451"/>
          <c:y val="2.2388716068584971E-2"/>
          <c:w val="0.43060183520618217"/>
          <c:h val="0.4885062073051408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6A4-4DD5-AAD1-93CF23F23E31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6A4-4DD5-AAD1-93CF23F23E31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6A4-4DD5-AAD1-93CF23F23E31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6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6A4-4DD5-AAD1-93CF23F23E31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6A4-4DD5-AAD1-93CF23F23E31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6A4-4DD5-AAD1-93CF23F23E31}"/>
              </c:ext>
            </c:extLst>
          </c:dPt>
          <c:dLbls>
            <c:dLbl>
              <c:idx val="0"/>
              <c:layout>
                <c:manualLayout>
                  <c:x val="0.22239974477265015"/>
                  <c:y val="-2.6900028876115877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8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6A4-4DD5-AAD1-93CF23F23E31}"/>
                </c:ext>
              </c:extLst>
            </c:dLbl>
            <c:dLbl>
              <c:idx val="1"/>
              <c:layout>
                <c:manualLayout>
                  <c:x val="9.2450283839145997E-2"/>
                  <c:y val="2.4341672033230434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2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6A4-4DD5-AAD1-93CF23F23E31}"/>
                </c:ext>
              </c:extLst>
            </c:dLbl>
            <c:dLbl>
              <c:idx val="2"/>
              <c:layout>
                <c:manualLayout>
                  <c:x val="-8.7654326458062176E-2"/>
                  <c:y val="-2.025517103094419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baseline="0" dirty="0"/>
                      <a:t>1%</a:t>
                    </a:r>
                    <a:endParaRPr lang="en-US" dirty="0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6A4-4DD5-AAD1-93CF23F23E31}"/>
                </c:ext>
              </c:extLst>
            </c:dLbl>
            <c:dLbl>
              <c:idx val="3"/>
              <c:layout>
                <c:manualLayout>
                  <c:x val="-4.4215353140461128E-2"/>
                  <c:y val="-3.343960339743980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6A4-4DD5-AAD1-93CF23F23E31}"/>
                </c:ext>
              </c:extLst>
            </c:dLbl>
            <c:dLbl>
              <c:idx val="4"/>
              <c:layout>
                <c:manualLayout>
                  <c:x val="-6.8332818489803562E-2"/>
                  <c:y val="-2.938745212680692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6A4-4DD5-AAD1-93CF23F23E31}"/>
                </c:ext>
              </c:extLst>
            </c:dLbl>
            <c:dLbl>
              <c:idx val="5"/>
              <c:layout>
                <c:manualLayout>
                  <c:x val="-6.4313240931579821E-2"/>
                  <c:y val="-6.2827893322579723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6A4-4DD5-AAD1-93CF23F23E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профилактический осмотр</c:v>
                </c:pt>
                <c:pt idx="1">
                  <c:v>диспансеризация</c:v>
                </c:pt>
                <c:pt idx="2">
                  <c:v>патронаж</c:v>
                </c:pt>
                <c:pt idx="3">
                  <c:v>прочие</c:v>
                </c:pt>
                <c:pt idx="4">
                  <c:v>всего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10510</c:v>
                </c:pt>
                <c:pt idx="1">
                  <c:v>1523</c:v>
                </c:pt>
                <c:pt idx="2">
                  <c:v>834</c:v>
                </c:pt>
                <c:pt idx="3">
                  <c:v>97697</c:v>
                </c:pt>
                <c:pt idx="4">
                  <c:v>210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6A4-4DD5-AAD1-93CF23F23E31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75"/>
      </c:doughnutChart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ru-RU" sz="1000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18655334200971282"/>
          <c:y val="0.49360508532417491"/>
          <c:w val="0.55454091993254717"/>
          <c:h val="0.375167769116184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1000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36141256184451"/>
          <c:y val="4.5189181425660446E-2"/>
          <c:w val="0.45471930055552451"/>
          <c:h val="0.5158668234575990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BF-4AA1-9543-E2968FC66016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5BF-4AA1-9543-E2968FC66016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5BF-4AA1-9543-E2968FC66016}"/>
              </c:ext>
            </c:extLst>
          </c:dPt>
          <c:dLbls>
            <c:dLbl>
              <c:idx val="0"/>
              <c:layout>
                <c:manualLayout>
                  <c:x val="9.362134186791984E-3"/>
                  <c:y val="-4.3411239726356354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3%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BF-4AA1-9543-E2968FC66016}"/>
                </c:ext>
              </c:extLst>
            </c:dLbl>
            <c:dLbl>
              <c:idx val="1"/>
              <c:layout>
                <c:manualLayout>
                  <c:x val="-8.4411128722698528E-2"/>
                  <c:y val="5.4721232304916392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36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BF-4AA1-9543-E2968FC66016}"/>
                </c:ext>
              </c:extLst>
            </c:dLbl>
            <c:dLbl>
              <c:idx val="2"/>
              <c:layout>
                <c:manualLayout>
                  <c:x val="-9.6469861397369738E-2"/>
                  <c:y val="-5.9281334996992854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61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BF-4AA1-9543-E2968FC660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неотложные</c:v>
                </c:pt>
                <c:pt idx="1">
                  <c:v>первичные осмотры</c:v>
                </c:pt>
                <c:pt idx="2">
                  <c:v>повторные осмотр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45</c:v>
                </c:pt>
                <c:pt idx="1">
                  <c:v>13447</c:v>
                </c:pt>
                <c:pt idx="2">
                  <c:v>188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BF-4AA1-9543-E2968FC66016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1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970472879562061"/>
          <c:y val="0.54503149814174268"/>
          <c:w val="0.5686296975252062"/>
          <c:h val="0.237763754364862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347662058531332E-2"/>
          <c:y val="0.20322121979451233"/>
          <c:w val="0.94330467588293709"/>
          <c:h val="0.6752172962802506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альчики, чел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1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F6-476D-BB14-88175711678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19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6-476D-BB14-8817571167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Включено в план проведения диспансеризации на текущий год с учетом возрастной категории</c:v>
                </c:pt>
                <c:pt idx="1">
                  <c:v>Прошли диспансеризацию
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4</c:v>
                </c:pt>
                <c:pt idx="1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DF-49D3-98DA-428D34748AF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вочки, чел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3F6-476D-BB14-88175711678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7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F6-476D-BB14-8817571167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Включено в план проведения диспансеризации на текущий год с учетом возрастной категории</c:v>
                </c:pt>
                <c:pt idx="1">
                  <c:v>Прошли диспансеризацию
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33</c:v>
                </c:pt>
                <c:pt idx="1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DF-49D3-98DA-428D34748A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83"/>
        <c:overlap val="100"/>
        <c:axId val="31624576"/>
        <c:axId val="31626368"/>
      </c:barChart>
      <c:catAx>
        <c:axId val="31624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626368"/>
        <c:crosses val="autoZero"/>
        <c:auto val="1"/>
        <c:lblAlgn val="ctr"/>
        <c:lblOffset val="100"/>
        <c:noMultiLvlLbl val="0"/>
      </c:catAx>
      <c:valAx>
        <c:axId val="31626368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1624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6.9174788802815539E-4"/>
          <c:y val="6.7517900919869922E-2"/>
          <c:w val="0.65329043914728968"/>
          <c:h val="6.46910380653355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r>
              <a:rPr lang="ru-RU" sz="16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рачи</a:t>
            </a:r>
          </a:p>
        </c:rich>
      </c:tx>
      <c:layout>
        <c:manualLayout>
          <c:xMode val="edge"/>
          <c:yMode val="edge"/>
          <c:x val="0.38225485481608701"/>
          <c:y val="6.545325373204151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317779832501225"/>
          <c:y val="0.14628537326655303"/>
          <c:w val="0.59777179947206249"/>
          <c:h val="0.6517823208265176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рач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A9B-45D1-9EC2-BB532AB4835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A9B-45D1-9EC2-BB532AB48355}"/>
              </c:ext>
            </c:extLst>
          </c:dPt>
          <c:dLbls>
            <c:dLbl>
              <c:idx val="0"/>
              <c:layout>
                <c:manualLayout>
                  <c:x val="0.30864642685204302"/>
                  <c:y val="2.324416562291612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just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rPr>
                      <a:t>30 (82,2%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80622920204633"/>
                      <c:h val="0.17669439901020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A9B-45D1-9EC2-BB532AB48355}"/>
                </c:ext>
              </c:extLst>
            </c:dLbl>
            <c:dLbl>
              <c:idx val="1"/>
              <c:layout>
                <c:manualLayout>
                  <c:x val="-0.16813614350106643"/>
                  <c:y val="-3.52647291772624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lang="en-US" sz="1400" b="0" i="0" u="none" strike="noStrike" kern="1200" baseline="0" smtClean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rPr>
                      <a:t>6,5 (17,8%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43994613248042"/>
                      <c:h val="0.192190570779491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A9B-45D1-9EC2-BB532AB483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Занято 35 ставки</c:v>
                </c:pt>
                <c:pt idx="1">
                  <c:v>Свободно 0 ставок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6.5</c:v>
                </c:pt>
                <c:pt idx="1">
                  <c:v>3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A9B-45D1-9EC2-BB532AB48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r>
              <a:rPr lang="ru-RU" dirty="0">
                <a:solidFill>
                  <a:schemeClr val="tx1"/>
                </a:solidFill>
              </a:rPr>
              <a:t>Средний</a:t>
            </a:r>
            <a:r>
              <a:rPr lang="ru-RU" baseline="0" dirty="0">
                <a:solidFill>
                  <a:schemeClr val="tx1"/>
                </a:solidFill>
              </a:rPr>
              <a:t> мед. персонал</a:t>
            </a:r>
            <a:endParaRPr lang="ru-RU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26320436618153531"/>
          <c:y val="6.603926861004637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317779832501225"/>
          <c:y val="0.14628537326655303"/>
          <c:w val="0.59777179947206249"/>
          <c:h val="0.6517823208265176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ний мед. Персонал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C22-4135-9A26-7131A1C6B15A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C22-4135-9A26-7131A1C6B15A}"/>
              </c:ext>
            </c:extLst>
          </c:dPt>
          <c:dLbls>
            <c:dLbl>
              <c:idx val="0"/>
              <c:layout>
                <c:manualLayout>
                  <c:x val="0.22175367266884868"/>
                  <c:y val="3.217424839862956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21</a:t>
                    </a:r>
                  </a:p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(82%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114105046529214"/>
                      <c:h val="0.179638659989103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C22-4135-9A26-7131A1C6B15A}"/>
                </c:ext>
              </c:extLst>
            </c:dLbl>
            <c:dLbl>
              <c:idx val="1"/>
              <c:layout>
                <c:manualLayout>
                  <c:x val="-0.17303178920290913"/>
                  <c:y val="-4.279260410045517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4,5</a:t>
                    </a:r>
                  </a:p>
                  <a:p>
                    <a:pPr algn="l"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(18%)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181112151559875"/>
                      <c:h val="0.187386715196742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C22-4135-9A26-7131A1C6B1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Занято 44,25 ставки</c:v>
                </c:pt>
                <c:pt idx="1">
                  <c:v>Свободно 7,25 ставок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</c:v>
                </c:pt>
                <c:pt idx="1">
                  <c:v>2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22-4135-9A26-7131A1C6B1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r>
              <a:rPr lang="ru-RU" sz="1600" dirty="0">
                <a:solidFill>
                  <a:schemeClr val="tx1"/>
                </a:solidFill>
              </a:rPr>
              <a:t>Прочие</a:t>
            </a:r>
          </a:p>
        </c:rich>
      </c:tx>
      <c:layout>
        <c:manualLayout>
          <c:xMode val="edge"/>
          <c:yMode val="edge"/>
          <c:x val="0.37775940165000804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317779832501225"/>
          <c:y val="0.14628537326655303"/>
          <c:w val="0.59777179947206249"/>
          <c:h val="0.6517823208265176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чие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47-4169-BEC4-9CDD522FA33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747-4169-BEC4-9CDD522FA33D}"/>
              </c:ext>
            </c:extLst>
          </c:dPt>
          <c:dLbls>
            <c:dLbl>
              <c:idx val="0"/>
              <c:layout>
                <c:manualLayout>
                  <c:x val="0.34268034371842282"/>
                  <c:y val="6.58584692649290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dirty="0">
                        <a:solidFill>
                          <a:schemeClr val="tx1"/>
                        </a:solidFill>
                      </a:rPr>
                      <a:t>11,25 (82%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94960612841957"/>
                      <c:h val="0.161953876498440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747-4169-BEC4-9CDD522FA33D}"/>
                </c:ext>
              </c:extLst>
            </c:dLbl>
            <c:dLbl>
              <c:idx val="1"/>
              <c:layout>
                <c:manualLayout>
                  <c:x val="-0.22676035334698266"/>
                  <c:y val="-0.1045987453031228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dirty="0">
                        <a:solidFill>
                          <a:schemeClr val="tx1"/>
                        </a:solidFill>
                      </a:rPr>
                      <a:t>2,75 (18%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015618634966482"/>
                      <c:h val="0.15033179368698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747-4169-BEC4-9CDD522FA3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4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Занято 23 ставок</c:v>
                </c:pt>
                <c:pt idx="1">
                  <c:v>Свободно 0 ставок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</c:v>
                </c:pt>
                <c:pt idx="1">
                  <c:v>2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747-4169-BEC4-9CDD522FA3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0ECC3F-9287-4FAB-9EDE-FB607BE02DF4}" type="datetimeFigureOut">
              <a:rPr lang="ru-RU" smtClean="0"/>
              <a:pPr/>
              <a:t>02.02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D9021-B706-416D-9E11-346349606E0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14214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21B3DE-0913-4385-A81D-0D235EEFD284}" type="datetimeFigureOut">
              <a:rPr lang="ru-RU" smtClean="0"/>
              <a:pPr/>
              <a:t>02.02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521939-DDDB-4A61-AB14-F4B8210B7CC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125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899B7-E1C2-46FD-86D7-55F9E0389FB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644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BB7D56-94D9-4205-87E3-107C3501101B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023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BB7D56-94D9-4205-87E3-107C3501101B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8079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BB7D56-94D9-4205-87E3-107C3501101B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15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BB7D56-94D9-4205-87E3-107C3501101B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1622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BB7D56-94D9-4205-87E3-107C3501101B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880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AD8BD-61AF-48BB-AC6C-FF85E0FB93B1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336" y="6356350"/>
            <a:ext cx="2743200" cy="365125"/>
          </a:xfrm>
        </p:spPr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8264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721855-0717-47C6-8C99-E9EFB2F71A16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8725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490E1-F5E3-4716-A3B7-38CAE80D11FC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4686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CBCD6-451F-427E-9E91-7C3CAFDDB88D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336" y="6356350"/>
            <a:ext cx="2743200" cy="365125"/>
          </a:xfrm>
        </p:spPr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3571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F708B-C0D5-44CA-9420-C6B31521111B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336" y="6356350"/>
            <a:ext cx="2743200" cy="365125"/>
          </a:xfrm>
        </p:spPr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2800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92E37-1FDC-4A91-80AE-D3D4BD0CF3C6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440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0C647A-70F8-4B2D-B89B-BB59000189F0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5272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D5E90-1241-4CF8-B095-839D662193A5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2716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4F60F6-8CBD-4071-9F44-5EDF987D3B9B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4726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025213-8220-485D-BEA2-438CEDB9B693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423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B5165-AFDF-4E13-87F1-2CCC8C7FAE12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8622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9375EC-5949-4FC3-82FA-A0594F71B7FD}" type="datetime1">
              <a:rPr lang="ru-RU" smtClean="0"/>
              <a:pPr/>
              <a:t>02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2033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21ED73-5B17-489B-8AF9-E8BAB6DF7D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69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jpe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12" Type="http://schemas.openxmlformats.org/officeDocument/2006/relationships/image" Target="../media/image3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32.svg"/><Relationship Id="rId5" Type="http://schemas.openxmlformats.org/officeDocument/2006/relationships/image" Target="../media/image20.svg"/><Relationship Id="rId10" Type="http://schemas.openxmlformats.org/officeDocument/2006/relationships/image" Target="../media/image31.png"/><Relationship Id="rId4" Type="http://schemas.openxmlformats.org/officeDocument/2006/relationships/image" Target="../media/image19.png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39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41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jpe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12" Type="http://schemas.openxmlformats.org/officeDocument/2006/relationships/image" Target="../media/image4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45.png"/><Relationship Id="rId5" Type="http://schemas.openxmlformats.org/officeDocument/2006/relationships/image" Target="../media/image20.svg"/><Relationship Id="rId10" Type="http://schemas.openxmlformats.org/officeDocument/2006/relationships/image" Target="../media/image44.png"/><Relationship Id="rId4" Type="http://schemas.openxmlformats.org/officeDocument/2006/relationships/image" Target="../media/image19.png"/><Relationship Id="rId9" Type="http://schemas.openxmlformats.org/officeDocument/2006/relationships/image" Target="../media/image43.png"/><Relationship Id="rId14" Type="http://schemas.openxmlformats.org/officeDocument/2006/relationships/image" Target="../media/image48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1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2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chart" Target="../charts/chart6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10" Type="http://schemas.openxmlformats.org/officeDocument/2006/relationships/image" Target="../media/image25.jpeg"/><Relationship Id="rId4" Type="http://schemas.openxmlformats.org/officeDocument/2006/relationships/image" Target="../media/image19.png"/><Relationship Id="rId9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5"/>
          <a:stretch/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sp>
        <p:nvSpPr>
          <p:cNvPr id="10" name="Заголовок 1"/>
          <p:cNvSpPr>
            <a:spLocks noGrp="1"/>
          </p:cNvSpPr>
          <p:nvPr>
            <p:ph type="ctrTitle"/>
          </p:nvPr>
        </p:nvSpPr>
        <p:spPr>
          <a:xfrm>
            <a:off x="3071664" y="2420888"/>
            <a:ext cx="7416824" cy="3744416"/>
          </a:xfrm>
        </p:spPr>
        <p:txBody>
          <a:bodyPr anchor="t">
            <a:noAutofit/>
          </a:bodyPr>
          <a:lstStyle/>
          <a:p>
            <a:pPr algn="l"/>
            <a: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одовой отчет за 2025 год Совету депутатов</a:t>
            </a:r>
            <a:b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айона Фили-Давыдково</a:t>
            </a:r>
            <a:b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авного врача</a:t>
            </a:r>
            <a:b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БУЗ «ДГП №130 ДЗМ»</a:t>
            </a:r>
            <a:b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45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Елисова</a:t>
            </a:r>
            <a: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В.Н.</a:t>
            </a:r>
          </a:p>
        </p:txBody>
      </p:sp>
    </p:spTree>
    <p:extLst>
      <p:ext uri="{BB962C8B-B14F-4D97-AF65-F5344CB8AC3E}">
        <p14:creationId xmlns:p14="http://schemas.microsoft.com/office/powerpoint/2010/main" val="30975803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1935"/>
          <a:stretch/>
        </p:blipFill>
        <p:spPr>
          <a:xfrm>
            <a:off x="0" y="-90476"/>
            <a:ext cx="12192000" cy="6975860"/>
          </a:xfrm>
          <a:prstGeom prst="rect">
            <a:avLst/>
          </a:prstGeom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9FC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10801349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ероприятия в поликлинике, реализованные в 2025 году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4128712" y="1099498"/>
            <a:ext cx="2183313" cy="5497268"/>
            <a:chOff x="3716227" y="1100084"/>
            <a:chExt cx="2145752" cy="5497268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3809751" y="1700808"/>
              <a:ext cx="2052228" cy="4896544"/>
            </a:xfrm>
            <a:prstGeom prst="roundRect">
              <a:avLst>
                <a:gd name="adj" fmla="val 346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3809673" y="2440487"/>
              <a:ext cx="2052305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Отработан регистр диспансерных больных в соответствии с Приказами Департамента здравоохранения г. Москвы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716227" y="3502749"/>
              <a:ext cx="20522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endPara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5" name="Овал 34"/>
            <p:cNvSpPr/>
            <p:nvPr/>
          </p:nvSpPr>
          <p:spPr>
            <a:xfrm>
              <a:off x="4013443" y="1100084"/>
              <a:ext cx="1264928" cy="1264928"/>
            </a:xfrm>
            <a:prstGeom prst="ellipse">
              <a:avLst/>
            </a:prstGeom>
            <a:solidFill>
              <a:srgbClr val="E4EF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3702" y="1250618"/>
              <a:ext cx="944409" cy="944409"/>
            </a:xfrm>
            <a:prstGeom prst="rect">
              <a:avLst/>
            </a:prstGeom>
          </p:spPr>
        </p:pic>
        <p:sp>
          <p:nvSpPr>
            <p:cNvPr id="24" name="Прямоугольник 23"/>
            <p:cNvSpPr/>
            <p:nvPr/>
          </p:nvSpPr>
          <p:spPr>
            <a:xfrm>
              <a:off x="3809751" y="3021518"/>
              <a:ext cx="20522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endPara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3782497" y="4289613"/>
              <a:ext cx="2052228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Верификацию прошли 24 тысячи пациентов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4627 пациентам подтверждено диспансерное наблюдение у врачей-специалистов ДГП130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846385" y="1099498"/>
            <a:ext cx="2161383" cy="5497268"/>
            <a:chOff x="1621384" y="1100084"/>
            <a:chExt cx="2053314" cy="5497268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1621384" y="1700808"/>
              <a:ext cx="2053314" cy="4896544"/>
            </a:xfrm>
            <a:prstGeom prst="roundRect">
              <a:avLst>
                <a:gd name="adj" fmla="val 346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1622470" y="2440487"/>
              <a:ext cx="204319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Организован заказ наиболее востребованных справок онлайн</a:t>
              </a:r>
            </a:p>
          </p:txBody>
        </p:sp>
        <p:sp>
          <p:nvSpPr>
            <p:cNvPr id="37" name="Овал 36"/>
            <p:cNvSpPr/>
            <p:nvPr/>
          </p:nvSpPr>
          <p:spPr>
            <a:xfrm>
              <a:off x="1847528" y="1100084"/>
              <a:ext cx="1264928" cy="1264928"/>
            </a:xfrm>
            <a:prstGeom prst="ellipse">
              <a:avLst/>
            </a:prstGeom>
            <a:solidFill>
              <a:srgbClr val="E4EF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96307" y="1288955"/>
              <a:ext cx="783962" cy="783962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6672066" y="1099498"/>
            <a:ext cx="2213252" cy="5497268"/>
            <a:chOff x="5996953" y="1100084"/>
            <a:chExt cx="2052307" cy="5497268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5997032" y="1700808"/>
              <a:ext cx="2052228" cy="4896544"/>
            </a:xfrm>
            <a:prstGeom prst="roundRect">
              <a:avLst>
                <a:gd name="adj" fmla="val 346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5996953" y="2440487"/>
              <a:ext cx="2052305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Открытие центров лечения кардиологических, гастроэнтерологических, ревматологических больных и центра ранней помощи 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6054954" y="3713983"/>
              <a:ext cx="1936304" cy="18466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endPara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endPara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r>
                <a:rPr lang="ru-RU" sz="12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В специализированные центры направлены для лечения и реабилитации 159 детей, из них по району Фили-Давыдково- 30 детей</a:t>
              </a:r>
            </a:p>
          </p:txBody>
        </p:sp>
        <p:sp>
          <p:nvSpPr>
            <p:cNvPr id="39" name="Овал 38"/>
            <p:cNvSpPr/>
            <p:nvPr/>
          </p:nvSpPr>
          <p:spPr>
            <a:xfrm>
              <a:off x="6204706" y="1100084"/>
              <a:ext cx="1264928" cy="1264928"/>
            </a:xfrm>
            <a:prstGeom prst="ellipse">
              <a:avLst/>
            </a:prstGeom>
            <a:solidFill>
              <a:srgbClr val="E4EF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8266" y="1247669"/>
              <a:ext cx="883524" cy="883524"/>
            </a:xfrm>
            <a:prstGeom prst="rect">
              <a:avLst/>
            </a:prstGeom>
          </p:spPr>
        </p:pic>
      </p:grpSp>
      <p:sp>
        <p:nvSpPr>
          <p:cNvPr id="29" name="Прямоугольник 28"/>
          <p:cNvSpPr/>
          <p:nvPr/>
        </p:nvSpPr>
        <p:spPr>
          <a:xfrm>
            <a:off x="1817651" y="3587103"/>
            <a:ext cx="205222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Большинство наиболее востребованных справок (о наличии контактов с инфекционными больными, прививочная карта и пр.) теперь можно заказать в личном кабинете ЕМИАС в электронном и бумажном вид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794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3EDBA9E-8FDD-49F3-860C-B91C75A5A1FB}"/>
              </a:ext>
            </a:extLst>
          </p:cNvPr>
          <p:cNvSpPr/>
          <p:nvPr/>
        </p:nvSpPr>
        <p:spPr>
          <a:xfrm>
            <a:off x="596900" y="954048"/>
            <a:ext cx="9283700" cy="18000"/>
          </a:xfrm>
          <a:prstGeom prst="rect">
            <a:avLst/>
          </a:prstGeom>
          <a:solidFill>
            <a:srgbClr val="1B2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10E198A-6544-4AFA-BFDA-1AC2DB1266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3EF1A2-0334-4349-A0BA-6DDC83356BB6}"/>
              </a:ext>
            </a:extLst>
          </p:cNvPr>
          <p:cNvSpPr txBox="1"/>
          <p:nvPr/>
        </p:nvSpPr>
        <p:spPr>
          <a:xfrm>
            <a:off x="1163344" y="368300"/>
            <a:ext cx="76885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i="0" u="none" strike="noStrike" dirty="0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Льготное лекарственное обеспечение</a:t>
            </a:r>
            <a:endParaRPr lang="ru-RU" sz="3000" dirty="0">
              <a:solidFill>
                <a:srgbClr val="1B2E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6D370BC-1279-43AB-B90F-B7B96EA35D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578088" y="519827"/>
            <a:ext cx="336318" cy="351103"/>
          </a:xfrm>
          <a:prstGeom prst="rect">
            <a:avLst/>
          </a:prstGeom>
        </p:spPr>
      </p:pic>
      <p:pic>
        <p:nvPicPr>
          <p:cNvPr id="109" name="Рисунок 108">
            <a:extLst>
              <a:ext uri="{FF2B5EF4-FFF2-40B4-BE49-F238E27FC236}">
                <a16:creationId xmlns:a16="http://schemas.microsoft.com/office/drawing/2014/main" id="{1DE67D3D-5FCE-4E8D-922A-E9049419BC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56152" y="545907"/>
            <a:ext cx="1364438" cy="404418"/>
          </a:xfrm>
          <a:prstGeom prst="rect">
            <a:avLst/>
          </a:prstGeom>
        </p:spPr>
      </p:pic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C109C64B-24F8-4F5A-B828-41AC29166D67}"/>
              </a:ext>
            </a:extLst>
          </p:cNvPr>
          <p:cNvSpPr/>
          <p:nvPr/>
        </p:nvSpPr>
        <p:spPr>
          <a:xfrm>
            <a:off x="707822" y="1471225"/>
            <a:ext cx="5713562" cy="766509"/>
          </a:xfrm>
          <a:prstGeom prst="roundRect">
            <a:avLst>
              <a:gd name="adj" fmla="val 24864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128B2D8-AC6F-44DB-B7C3-9452AACC916F}"/>
              </a:ext>
            </a:extLst>
          </p:cNvPr>
          <p:cNvSpPr txBox="1"/>
          <p:nvPr/>
        </p:nvSpPr>
        <p:spPr>
          <a:xfrm>
            <a:off x="1616069" y="1685997"/>
            <a:ext cx="3736981" cy="374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Лекарства по </a:t>
            </a:r>
            <a:r>
              <a:rPr lang="en-US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QR-</a:t>
            </a:r>
            <a:r>
              <a:rPr lang="ru-RU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оду </a:t>
            </a:r>
            <a:endParaRPr lang="ru-RU" sz="2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F0DCA3CD-7533-4B8A-9D80-0AA65AE70DE7}"/>
              </a:ext>
            </a:extLst>
          </p:cNvPr>
          <p:cNvSpPr/>
          <p:nvPr/>
        </p:nvSpPr>
        <p:spPr>
          <a:xfrm>
            <a:off x="599542" y="1209205"/>
            <a:ext cx="922838" cy="922838"/>
          </a:xfrm>
          <a:prstGeom prst="ellipse">
            <a:avLst/>
          </a:prstGeom>
          <a:solidFill>
            <a:srgbClr val="A4B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1B2E51"/>
              </a:solidFill>
            </a:endParaRPr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C3EF08D9-2713-4DF0-BE44-4085764065F7}"/>
              </a:ext>
            </a:extLst>
          </p:cNvPr>
          <p:cNvSpPr/>
          <p:nvPr/>
        </p:nvSpPr>
        <p:spPr>
          <a:xfrm>
            <a:off x="6700607" y="4121150"/>
            <a:ext cx="4948638" cy="2268392"/>
          </a:xfrm>
          <a:prstGeom prst="roundRect">
            <a:avLst>
              <a:gd name="adj" fmla="val 9858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59282B7-85DA-4A56-AF30-EC509AAFF98E}"/>
              </a:ext>
            </a:extLst>
          </p:cNvPr>
          <p:cNvSpPr txBox="1"/>
          <p:nvPr/>
        </p:nvSpPr>
        <p:spPr>
          <a:xfrm>
            <a:off x="7180579" y="4475284"/>
            <a:ext cx="4092748" cy="656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бщественные слушания по закупке лекарств </a:t>
            </a:r>
            <a:endParaRPr lang="ru-RU" sz="2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16E1405E-CA5B-44DE-9AB0-20A643BA43C2}"/>
              </a:ext>
            </a:extLst>
          </p:cNvPr>
          <p:cNvSpPr/>
          <p:nvPr/>
        </p:nvSpPr>
        <p:spPr>
          <a:xfrm>
            <a:off x="715737" y="2657502"/>
            <a:ext cx="5704111" cy="1904392"/>
          </a:xfrm>
          <a:prstGeom prst="roundRect">
            <a:avLst>
              <a:gd name="adj" fmla="val 9652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CA9DB34-C699-4C8E-8ED1-587ACC8BD713}"/>
              </a:ext>
            </a:extLst>
          </p:cNvPr>
          <p:cNvSpPr txBox="1"/>
          <p:nvPr/>
        </p:nvSpPr>
        <p:spPr>
          <a:xfrm>
            <a:off x="1578036" y="2782184"/>
            <a:ext cx="4560427" cy="656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Лекарства в коммерческих аптеках</a:t>
            </a:r>
            <a:endParaRPr lang="ru-RU" sz="2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id="{AB6DF8CC-A94F-4E63-92C5-A9CCF7412670}"/>
              </a:ext>
            </a:extLst>
          </p:cNvPr>
          <p:cNvSpPr/>
          <p:nvPr/>
        </p:nvSpPr>
        <p:spPr>
          <a:xfrm>
            <a:off x="607457" y="2395481"/>
            <a:ext cx="922838" cy="922838"/>
          </a:xfrm>
          <a:prstGeom prst="ellipse">
            <a:avLst/>
          </a:prstGeom>
          <a:solidFill>
            <a:srgbClr val="A4B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1B2E5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A71CAA4-D3B7-4310-836B-DA5C15B67F4C}"/>
              </a:ext>
            </a:extLst>
          </p:cNvPr>
          <p:cNvSpPr txBox="1"/>
          <p:nvPr/>
        </p:nvSpPr>
        <p:spPr>
          <a:xfrm>
            <a:off x="1701764" y="3501962"/>
            <a:ext cx="43942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2022 года </a:t>
            </a:r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ьготные лекарства</a:t>
            </a:r>
            <a:r>
              <a:rPr lang="ru-RU" sz="1200" b="1" i="0" u="none" strike="noStrike" dirty="0">
                <a:solidFill>
                  <a:srgbClr val="48BDD7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жно получить в коммерческих аптеках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F4CD26D5-4614-48A9-B43B-37E016918C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1327254" y="3540280"/>
            <a:ext cx="237788" cy="248241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6E42D6D0-E7E4-41A8-8CB5-FD960967647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10" y="2537963"/>
            <a:ext cx="584874" cy="584874"/>
          </a:xfrm>
          <a:prstGeom prst="rect">
            <a:avLst/>
          </a:prstGeom>
        </p:spPr>
      </p:pic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C3CAD7D1-B2DB-4444-9845-7F06E0A64532}"/>
              </a:ext>
            </a:extLst>
          </p:cNvPr>
          <p:cNvSpPr/>
          <p:nvPr/>
        </p:nvSpPr>
        <p:spPr>
          <a:xfrm>
            <a:off x="1791806" y="4002266"/>
            <a:ext cx="3376916" cy="34869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6C7B37F-FE65-42CF-96E5-8933F251350F}"/>
              </a:ext>
            </a:extLst>
          </p:cNvPr>
          <p:cNvSpPr txBox="1"/>
          <p:nvPr/>
        </p:nvSpPr>
        <p:spPr>
          <a:xfrm>
            <a:off x="2219770" y="4032251"/>
            <a:ext cx="25176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сплатно или с доплатой</a:t>
            </a:r>
            <a:endParaRPr lang="ru-RU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FE8C03CB-8289-4D26-A03B-9F26BF5B69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738" y="1314896"/>
            <a:ext cx="682907" cy="682907"/>
          </a:xfrm>
          <a:prstGeom prst="rect">
            <a:avLst/>
          </a:prstGeom>
        </p:spPr>
      </p:pic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07792620-7FB8-4E89-9699-D90DFE30EE19}"/>
              </a:ext>
            </a:extLst>
          </p:cNvPr>
          <p:cNvSpPr/>
          <p:nvPr/>
        </p:nvSpPr>
        <p:spPr>
          <a:xfrm>
            <a:off x="715738" y="4933923"/>
            <a:ext cx="5704110" cy="1455619"/>
          </a:xfrm>
          <a:prstGeom prst="roundRect">
            <a:avLst>
              <a:gd name="adj" fmla="val 9652"/>
            </a:avLst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EA28B90-67D3-44F6-BEEA-0D83DFE085C8}"/>
              </a:ext>
            </a:extLst>
          </p:cNvPr>
          <p:cNvSpPr txBox="1"/>
          <p:nvPr/>
        </p:nvSpPr>
        <p:spPr>
          <a:xfrm>
            <a:off x="1578036" y="5058606"/>
            <a:ext cx="3684078" cy="656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еснижаемые остатки на складах</a:t>
            </a:r>
            <a:endParaRPr lang="ru-RU" sz="2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7DA98E4E-F621-4E77-97DA-8ED5ECCCDB0A}"/>
              </a:ext>
            </a:extLst>
          </p:cNvPr>
          <p:cNvSpPr/>
          <p:nvPr/>
        </p:nvSpPr>
        <p:spPr>
          <a:xfrm>
            <a:off x="607457" y="4671903"/>
            <a:ext cx="922838" cy="922838"/>
          </a:xfrm>
          <a:prstGeom prst="ellipse">
            <a:avLst/>
          </a:prstGeom>
          <a:solidFill>
            <a:srgbClr val="A4B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1B2E5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AC5ED3F-ED41-4CE7-A240-BD55BD1F3DB1}"/>
              </a:ext>
            </a:extLst>
          </p:cNvPr>
          <p:cNvSpPr txBox="1"/>
          <p:nvPr/>
        </p:nvSpPr>
        <p:spPr>
          <a:xfrm>
            <a:off x="1701764" y="5747800"/>
            <a:ext cx="4718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ЗМ регулярно </a:t>
            </a:r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слеживает обеспечение</a:t>
            </a:r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ациентов необходимыми лекарственными препаратами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D17F3F8A-4100-4D26-8272-DEEE972A2F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1359059" y="5778165"/>
            <a:ext cx="237788" cy="248241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BECEDDF8-6B01-477B-A3EB-8B087775B2DB}"/>
              </a:ext>
            </a:extLst>
          </p:cNvPr>
          <p:cNvSpPr txBox="1"/>
          <p:nvPr/>
        </p:nvSpPr>
        <p:spPr>
          <a:xfrm>
            <a:off x="7637514" y="5183792"/>
            <a:ext cx="40927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водятся </a:t>
            </a:r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жегодно</a:t>
            </a:r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совместно</a:t>
            </a:r>
            <a:endParaRPr lang="en-US" sz="1200" b="0" i="0" u="none" strike="noStrike" dirty="0">
              <a:solidFill>
                <a:srgbClr val="1B2E5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</a:t>
            </a:r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фессиональным, </a:t>
            </a:r>
            <a:r>
              <a:rPr lang="ru-RU" sz="1200" b="1" i="0" u="none" strike="noStrike" dirty="0" err="1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циентским</a:t>
            </a:r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en-US" sz="1200" b="1" i="0" u="none" strike="noStrike" dirty="0">
              <a:solidFill>
                <a:srgbClr val="A4B856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фармацевтическим</a:t>
            </a:r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обществами для определения </a:t>
            </a:r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ности</a:t>
            </a:r>
            <a:r>
              <a:rPr lang="en-US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необходимом количестве </a:t>
            </a:r>
            <a:r>
              <a:rPr lang="ru-RU" sz="1200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паратов</a:t>
            </a:r>
            <a:endParaRPr lang="ru-RU" sz="1200" b="1" dirty="0">
              <a:solidFill>
                <a:srgbClr val="A4B85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35E009FB-D6FF-4ABE-93A9-C69E3F7E4B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7224628" y="5243445"/>
            <a:ext cx="237788" cy="248241"/>
          </a:xfrm>
          <a:prstGeom prst="rect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DB5DB4A9-5435-49A7-B336-57976BF223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4881" y="4815679"/>
            <a:ext cx="553464" cy="597121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48F893BD-DE03-4DF7-8831-1F5C8BCC17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33" t="590" r="9981" b="8101"/>
          <a:stretch/>
        </p:blipFill>
        <p:spPr bwMode="auto">
          <a:xfrm>
            <a:off x="6084968" y="1241148"/>
            <a:ext cx="3644432" cy="3132586"/>
          </a:xfrm>
          <a:custGeom>
            <a:avLst/>
            <a:gdLst>
              <a:gd name="connsiteX0" fmla="*/ 780856 w 3644432"/>
              <a:gd name="connsiteY0" fmla="*/ 0 h 3132586"/>
              <a:gd name="connsiteX1" fmla="*/ 2863576 w 3644432"/>
              <a:gd name="connsiteY1" fmla="*/ 0 h 3132586"/>
              <a:gd name="connsiteX2" fmla="*/ 3644432 w 3644432"/>
              <a:gd name="connsiteY2" fmla="*/ 1561711 h 3132586"/>
              <a:gd name="connsiteX3" fmla="*/ 2858994 w 3644432"/>
              <a:gd name="connsiteY3" fmla="*/ 3132586 h 3132586"/>
              <a:gd name="connsiteX4" fmla="*/ 785438 w 3644432"/>
              <a:gd name="connsiteY4" fmla="*/ 3132586 h 3132586"/>
              <a:gd name="connsiteX5" fmla="*/ 0 w 3644432"/>
              <a:gd name="connsiteY5" fmla="*/ 1561711 h 3132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4432" h="3132586">
                <a:moveTo>
                  <a:pt x="780856" y="0"/>
                </a:moveTo>
                <a:lnTo>
                  <a:pt x="2863576" y="0"/>
                </a:lnTo>
                <a:lnTo>
                  <a:pt x="3644432" y="1561711"/>
                </a:lnTo>
                <a:lnTo>
                  <a:pt x="2858994" y="3132586"/>
                </a:lnTo>
                <a:lnTo>
                  <a:pt x="785438" y="3132586"/>
                </a:lnTo>
                <a:lnTo>
                  <a:pt x="0" y="1561711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92A1C3EE-2AB0-46AF-A0BF-AE117B6DB0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8" t="18895" r="1892" b="19128"/>
          <a:stretch>
            <a:fillRect/>
          </a:stretch>
        </p:blipFill>
        <p:spPr bwMode="auto">
          <a:xfrm>
            <a:off x="9517559" y="1282400"/>
            <a:ext cx="2167335" cy="1868392"/>
          </a:xfrm>
          <a:custGeom>
            <a:avLst/>
            <a:gdLst>
              <a:gd name="connsiteX0" fmla="*/ 467098 w 2167335"/>
              <a:gd name="connsiteY0" fmla="*/ 0 h 1868392"/>
              <a:gd name="connsiteX1" fmla="*/ 1700237 w 2167335"/>
              <a:gd name="connsiteY1" fmla="*/ 0 h 1868392"/>
              <a:gd name="connsiteX2" fmla="*/ 2167335 w 2167335"/>
              <a:gd name="connsiteY2" fmla="*/ 934196 h 1868392"/>
              <a:gd name="connsiteX3" fmla="*/ 1700237 w 2167335"/>
              <a:gd name="connsiteY3" fmla="*/ 1868392 h 1868392"/>
              <a:gd name="connsiteX4" fmla="*/ 467098 w 2167335"/>
              <a:gd name="connsiteY4" fmla="*/ 1868392 h 1868392"/>
              <a:gd name="connsiteX5" fmla="*/ 0 w 2167335"/>
              <a:gd name="connsiteY5" fmla="*/ 934196 h 1868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7335" h="1868392">
                <a:moveTo>
                  <a:pt x="467098" y="0"/>
                </a:moveTo>
                <a:lnTo>
                  <a:pt x="1700237" y="0"/>
                </a:lnTo>
                <a:lnTo>
                  <a:pt x="2167335" y="934196"/>
                </a:lnTo>
                <a:lnTo>
                  <a:pt x="1700237" y="1868392"/>
                </a:lnTo>
                <a:lnTo>
                  <a:pt x="467098" y="1868392"/>
                </a:lnTo>
                <a:lnTo>
                  <a:pt x="0" y="934196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Шестиугольник 77">
            <a:extLst>
              <a:ext uri="{FF2B5EF4-FFF2-40B4-BE49-F238E27FC236}">
                <a16:creationId xmlns:a16="http://schemas.microsoft.com/office/drawing/2014/main" id="{3FE4A1A8-11B3-4296-8645-5E0B0629D7D6}"/>
              </a:ext>
            </a:extLst>
          </p:cNvPr>
          <p:cNvSpPr/>
          <p:nvPr/>
        </p:nvSpPr>
        <p:spPr>
          <a:xfrm>
            <a:off x="11043530" y="2856182"/>
            <a:ext cx="743720" cy="641138"/>
          </a:xfrm>
          <a:prstGeom prst="hexagon">
            <a:avLst/>
          </a:prstGeom>
          <a:noFill/>
          <a:ln w="12700">
            <a:solidFill>
              <a:srgbClr val="A4B856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Шестиугольник 78">
            <a:extLst>
              <a:ext uri="{FF2B5EF4-FFF2-40B4-BE49-F238E27FC236}">
                <a16:creationId xmlns:a16="http://schemas.microsoft.com/office/drawing/2014/main" id="{8A284021-B100-473A-8656-03E632AD8980}"/>
              </a:ext>
            </a:extLst>
          </p:cNvPr>
          <p:cNvSpPr/>
          <p:nvPr/>
        </p:nvSpPr>
        <p:spPr>
          <a:xfrm>
            <a:off x="8985775" y="3073400"/>
            <a:ext cx="1090573" cy="940150"/>
          </a:xfrm>
          <a:prstGeom prst="hexagon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91786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1935"/>
          <a:stretch/>
        </p:blipFill>
        <p:spPr>
          <a:xfrm>
            <a:off x="0" y="-90476"/>
            <a:ext cx="12192000" cy="6975860"/>
          </a:xfrm>
          <a:prstGeom prst="rect">
            <a:avLst/>
          </a:prstGeom>
        </p:spPr>
      </p:pic>
      <p:sp>
        <p:nvSpPr>
          <p:cNvPr id="32" name="Заголовок 1"/>
          <p:cNvSpPr>
            <a:spLocks noGrp="1"/>
          </p:cNvSpPr>
          <p:nvPr>
            <p:ph type="title"/>
          </p:nvPr>
        </p:nvSpPr>
        <p:spPr>
          <a:xfrm>
            <a:off x="695324" y="549275"/>
            <a:ext cx="11161315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абота по рассмотрению жалоб и обращений граждан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33"/>
          <p:cNvSpPr/>
          <p:nvPr/>
        </p:nvSpPr>
        <p:spPr>
          <a:xfrm>
            <a:off x="624283" y="1035968"/>
            <a:ext cx="10825517" cy="5544616"/>
          </a:xfrm>
          <a:prstGeom prst="roundRect">
            <a:avLst>
              <a:gd name="adj" fmla="val 1954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Заголовок 1"/>
          <p:cNvSpPr txBox="1">
            <a:spLocks/>
          </p:cNvSpPr>
          <p:nvPr/>
        </p:nvSpPr>
        <p:spPr>
          <a:xfrm>
            <a:off x="2927648" y="4581129"/>
            <a:ext cx="8136904" cy="144015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 обращения рассматриваются в индивидуальном порядке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лучае негативного содержания обращения, специалисты поликлиники вступают </a:t>
            </a:r>
            <a:b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диалог с официальным представителем пациентом и детализируют проблему для ее решения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зучаются предложения граждан по улучшению работы поликлиники, руководство использует обратную связь для совершенствования оказания медицинской помощи</a:t>
            </a: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48" y="4433194"/>
            <a:ext cx="1502324" cy="1502324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9FC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Скругленный прямоугольник 54"/>
          <p:cNvSpPr/>
          <p:nvPr/>
        </p:nvSpPr>
        <p:spPr>
          <a:xfrm>
            <a:off x="5159896" y="1639428"/>
            <a:ext cx="1836204" cy="2788019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Заголовок 1"/>
          <p:cNvSpPr txBox="1">
            <a:spLocks/>
          </p:cNvSpPr>
          <p:nvPr/>
        </p:nvSpPr>
        <p:spPr>
          <a:xfrm>
            <a:off x="2927648" y="2977689"/>
            <a:ext cx="2232248" cy="4197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исло обращений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 2024год</a:t>
            </a:r>
          </a:p>
        </p:txBody>
      </p:sp>
      <p:sp>
        <p:nvSpPr>
          <p:cNvPr id="63" name="Заголовок 1"/>
          <p:cNvSpPr txBox="1">
            <a:spLocks/>
          </p:cNvSpPr>
          <p:nvPr/>
        </p:nvSpPr>
        <p:spPr>
          <a:xfrm>
            <a:off x="5159896" y="2977689"/>
            <a:ext cx="1836204" cy="1300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6</a:t>
            </a:r>
          </a:p>
          <a:p>
            <a:endParaRPr lang="ru-RU" sz="2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ru-RU" sz="2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110</a:t>
            </a:r>
          </a:p>
          <a:p>
            <a:pPr algn="ctr"/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7" name="Заголовок 1"/>
          <p:cNvSpPr txBox="1">
            <a:spLocks/>
          </p:cNvSpPr>
          <p:nvPr/>
        </p:nvSpPr>
        <p:spPr>
          <a:xfrm>
            <a:off x="5159897" y="2318331"/>
            <a:ext cx="1836204" cy="61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унцево</a:t>
            </a:r>
          </a:p>
        </p:txBody>
      </p:sp>
      <p:sp>
        <p:nvSpPr>
          <p:cNvPr id="73" name="Овал 72"/>
          <p:cNvSpPr/>
          <p:nvPr/>
        </p:nvSpPr>
        <p:spPr>
          <a:xfrm>
            <a:off x="5641126" y="1171966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" name="Рисунок 7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1735" y="1373680"/>
            <a:ext cx="482150" cy="4821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9</a:t>
            </a: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2927648" y="3717032"/>
            <a:ext cx="2232248" cy="560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исло обращений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 2025 год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7186709" y="1644277"/>
            <a:ext cx="1836204" cy="2788019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9201599" y="1649574"/>
            <a:ext cx="1836204" cy="2788019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Овал 20"/>
          <p:cNvSpPr/>
          <p:nvPr/>
        </p:nvSpPr>
        <p:spPr>
          <a:xfrm>
            <a:off x="7656061" y="1148732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9676912" y="1177901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8036" y="1373680"/>
            <a:ext cx="481626" cy="48162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2262" y="1394057"/>
            <a:ext cx="481626" cy="481626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7198562" y="2339640"/>
            <a:ext cx="1824351" cy="5433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1600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/>
            <a:r>
              <a:rPr lang="ru-RU" sz="16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 Давыдково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228348" y="2256395"/>
            <a:ext cx="1809455" cy="6749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рылатско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162933" y="3085011"/>
            <a:ext cx="1741380" cy="10950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7211458" y="2652853"/>
            <a:ext cx="1774784" cy="1681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1</a:t>
            </a:r>
          </a:p>
          <a:p>
            <a:pPr algn="ctr">
              <a:lnSpc>
                <a:spcPct val="200000"/>
              </a:lnSpc>
            </a:pPr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6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231522" y="2935347"/>
            <a:ext cx="180945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38</a:t>
            </a:r>
          </a:p>
          <a:p>
            <a:pPr algn="ctr"/>
            <a:endParaRPr lang="ru-RU" sz="2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87</a:t>
            </a:r>
          </a:p>
        </p:txBody>
      </p:sp>
    </p:spTree>
    <p:extLst>
      <p:ext uri="{BB962C8B-B14F-4D97-AF65-F5344CB8AC3E}">
        <p14:creationId xmlns:p14="http://schemas.microsoft.com/office/powerpoint/2010/main" val="3009406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3EDBA9E-8FDD-49F3-860C-B91C75A5A1FB}"/>
              </a:ext>
            </a:extLst>
          </p:cNvPr>
          <p:cNvSpPr/>
          <p:nvPr/>
        </p:nvSpPr>
        <p:spPr>
          <a:xfrm>
            <a:off x="603250" y="954048"/>
            <a:ext cx="9283700" cy="18000"/>
          </a:xfrm>
          <a:prstGeom prst="rect">
            <a:avLst/>
          </a:prstGeom>
          <a:solidFill>
            <a:srgbClr val="1B2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10E198A-6544-4AFA-BFDA-1AC2DB1266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9999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3EF1A2-0334-4349-A0BA-6DDC83356BB6}"/>
              </a:ext>
            </a:extLst>
          </p:cNvPr>
          <p:cNvSpPr txBox="1"/>
          <p:nvPr/>
        </p:nvSpPr>
        <p:spPr>
          <a:xfrm>
            <a:off x="1163345" y="368300"/>
            <a:ext cx="3263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i="0" u="none" strike="noStrike" dirty="0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Цифровизация</a:t>
            </a:r>
            <a:endParaRPr lang="ru-RU" sz="3000" dirty="0">
              <a:solidFill>
                <a:srgbClr val="1B2E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6D370BC-1279-43AB-B90F-B7B96EA35D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578088" y="519827"/>
            <a:ext cx="336318" cy="351103"/>
          </a:xfrm>
          <a:prstGeom prst="rect">
            <a:avLst/>
          </a:prstGeom>
        </p:spPr>
      </p:pic>
      <p:pic>
        <p:nvPicPr>
          <p:cNvPr id="141" name="Рисунок 140">
            <a:extLst>
              <a:ext uri="{FF2B5EF4-FFF2-40B4-BE49-F238E27FC236}">
                <a16:creationId xmlns:a16="http://schemas.microsoft.com/office/drawing/2014/main" id="{5C5EBF77-044D-46BC-9A2D-3F022DE68E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56152" y="545907"/>
            <a:ext cx="1364438" cy="404418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00F6C527-3154-485B-ACC6-F536EDFCFA00}"/>
              </a:ext>
            </a:extLst>
          </p:cNvPr>
          <p:cNvSpPr txBox="1"/>
          <p:nvPr/>
        </p:nvSpPr>
        <p:spPr>
          <a:xfrm>
            <a:off x="743410" y="1220436"/>
            <a:ext cx="82593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ее 10 лет Москва занимается цифровизацией системы здравоохранени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6E5597F5-90D4-4AC2-9EAE-5D0310139F71}"/>
              </a:ext>
            </a:extLst>
          </p:cNvPr>
          <p:cNvGrpSpPr/>
          <p:nvPr/>
        </p:nvGrpSpPr>
        <p:grpSpPr>
          <a:xfrm>
            <a:off x="600490" y="2280665"/>
            <a:ext cx="2840654" cy="1727106"/>
            <a:chOff x="663334" y="2268338"/>
            <a:chExt cx="2840654" cy="1727106"/>
          </a:xfrm>
        </p:grpSpPr>
        <p:sp>
          <p:nvSpPr>
            <p:cNvPr id="51" name="Шестиугольник 50">
              <a:extLst>
                <a:ext uri="{FF2B5EF4-FFF2-40B4-BE49-F238E27FC236}">
                  <a16:creationId xmlns:a16="http://schemas.microsoft.com/office/drawing/2014/main" id="{4F6E25C7-A0E5-48C5-9BE2-3A508E0E1696}"/>
                </a:ext>
              </a:extLst>
            </p:cNvPr>
            <p:cNvSpPr/>
            <p:nvPr/>
          </p:nvSpPr>
          <p:spPr>
            <a:xfrm>
              <a:off x="663334" y="2288174"/>
              <a:ext cx="1980433" cy="1707270"/>
            </a:xfrm>
            <a:prstGeom prst="hexagon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C16C856-B5DF-435B-8A5D-7B1148C2AAD2}"/>
                </a:ext>
              </a:extLst>
            </p:cNvPr>
            <p:cNvSpPr txBox="1"/>
            <p:nvPr/>
          </p:nvSpPr>
          <p:spPr>
            <a:xfrm>
              <a:off x="1168342" y="2268338"/>
              <a:ext cx="1868583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  <a:endParaRPr lang="ru-RU" sz="80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C97F0AA4-5E1F-4064-955B-2DD40798CCF4}"/>
                </a:ext>
              </a:extLst>
            </p:cNvPr>
            <p:cNvSpPr txBox="1"/>
            <p:nvPr/>
          </p:nvSpPr>
          <p:spPr>
            <a:xfrm>
              <a:off x="810126" y="2592350"/>
              <a:ext cx="35151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4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&gt;</a:t>
              </a:r>
              <a:endParaRPr lang="ru-RU" sz="4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DF0A50F-B26C-4D34-A2C4-DDF3500EE347}"/>
                </a:ext>
              </a:extLst>
            </p:cNvPr>
            <p:cNvSpPr txBox="1"/>
            <p:nvPr/>
          </p:nvSpPr>
          <p:spPr>
            <a:xfrm>
              <a:off x="2321706" y="2808998"/>
              <a:ext cx="118228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2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млн.</a:t>
              </a:r>
              <a:endParaRPr lang="ru-RU" sz="32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267F396-93D0-4536-9538-BD015EDA7588}"/>
                </a:ext>
              </a:extLst>
            </p:cNvPr>
            <p:cNvSpPr txBox="1"/>
            <p:nvPr/>
          </p:nvSpPr>
          <p:spPr>
            <a:xfrm>
              <a:off x="1014509" y="3416881"/>
              <a:ext cx="20897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ЭМК в ЕМИАС</a:t>
              </a:r>
              <a:endParaRPr lang="ru-RU" sz="2000" dirty="0">
                <a:solidFill>
                  <a:srgbClr val="1B2E5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D10A2853-B2BE-421A-9681-CDD40298EA1D}"/>
              </a:ext>
            </a:extLst>
          </p:cNvPr>
          <p:cNvGrpSpPr/>
          <p:nvPr/>
        </p:nvGrpSpPr>
        <p:grpSpPr>
          <a:xfrm>
            <a:off x="3907695" y="2004152"/>
            <a:ext cx="3589444" cy="830997"/>
            <a:chOff x="818627" y="5414129"/>
            <a:chExt cx="3589444" cy="830997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524F8B4-49D8-47A4-8AF9-6B616F49362F}"/>
                </a:ext>
              </a:extLst>
            </p:cNvPr>
            <p:cNvSpPr txBox="1"/>
            <p:nvPr/>
          </p:nvSpPr>
          <p:spPr>
            <a:xfrm>
              <a:off x="1173924" y="5414129"/>
              <a:ext cx="32341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i="0" u="none" strike="noStrike" dirty="0">
                  <a:solidFill>
                    <a:srgbClr val="A4B856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&gt; </a:t>
              </a:r>
              <a:r>
                <a:rPr lang="ru-RU" sz="1200" b="1" dirty="0">
                  <a:solidFill>
                    <a:srgbClr val="A4B85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1</a:t>
              </a:r>
              <a:r>
                <a:rPr lang="ru-RU" sz="1200" b="1" i="0" u="none" strike="noStrike" dirty="0">
                  <a:solidFill>
                    <a:srgbClr val="A4B856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00 млн раз </a:t>
              </a:r>
              <a: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москвичи воспользовались онлайн-записью,</a:t>
              </a:r>
              <a:b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</a:br>
              <a: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из них пациенты ДГП130- </a:t>
              </a:r>
              <a:r>
                <a:rPr lang="ru-RU" sz="1200" b="1" i="0" u="none" strike="noStrike" dirty="0">
                  <a:solidFill>
                    <a:schemeClr val="tx2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0,67</a:t>
              </a:r>
              <a: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млн раз</a:t>
              </a:r>
              <a:endParaRPr lang="ru-RU" sz="1200" dirty="0">
                <a:solidFill>
                  <a:srgbClr val="1B2E5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153A9E68-AD56-4541-89D2-741B52EA7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7712767">
              <a:off x="823854" y="5470399"/>
              <a:ext cx="237788" cy="248241"/>
            </a:xfrm>
            <a:prstGeom prst="rect">
              <a:avLst/>
            </a:prstGeom>
          </p:spPr>
        </p:pic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0B005F49-4690-49A2-901F-7ED6CEC0BD85}"/>
              </a:ext>
            </a:extLst>
          </p:cNvPr>
          <p:cNvGrpSpPr/>
          <p:nvPr/>
        </p:nvGrpSpPr>
        <p:grpSpPr>
          <a:xfrm>
            <a:off x="3915789" y="2721496"/>
            <a:ext cx="3416684" cy="830997"/>
            <a:chOff x="4828818" y="5581107"/>
            <a:chExt cx="3416684" cy="830997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867D469-E5F6-446F-A60E-2E91358EC4FE}"/>
                </a:ext>
              </a:extLst>
            </p:cNvPr>
            <p:cNvSpPr txBox="1"/>
            <p:nvPr/>
          </p:nvSpPr>
          <p:spPr>
            <a:xfrm>
              <a:off x="5184116" y="5581107"/>
              <a:ext cx="30613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Установили </a:t>
              </a:r>
              <a:r>
                <a:rPr lang="ru-RU" sz="1200" b="1" i="0" u="none" strike="noStrike" dirty="0">
                  <a:solidFill>
                    <a:srgbClr val="A4B856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&gt; 9 млн </a:t>
              </a:r>
              <a: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предварительных диагнозов </a:t>
              </a:r>
            </a:p>
            <a:p>
              <a: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с помощью системы поддержки принятия врачебных решений</a:t>
              </a:r>
              <a:endParaRPr lang="ru-RU" sz="1200" dirty="0">
                <a:solidFill>
                  <a:srgbClr val="1B2E5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1" name="Рисунок 60">
              <a:extLst>
                <a:ext uri="{FF2B5EF4-FFF2-40B4-BE49-F238E27FC236}">
                  <a16:creationId xmlns:a16="http://schemas.microsoft.com/office/drawing/2014/main" id="{7CCD3F98-BCB3-4C28-9F53-876E81A0D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7712767">
              <a:off x="4834045" y="5637377"/>
              <a:ext cx="237788" cy="248241"/>
            </a:xfrm>
            <a:prstGeom prst="rect">
              <a:avLst/>
            </a:prstGeom>
          </p:spPr>
        </p:pic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3E498C2B-8C1C-4641-AA3A-83D58B60F7B1}"/>
              </a:ext>
            </a:extLst>
          </p:cNvPr>
          <p:cNvGrpSpPr/>
          <p:nvPr/>
        </p:nvGrpSpPr>
        <p:grpSpPr>
          <a:xfrm>
            <a:off x="3908766" y="3771525"/>
            <a:ext cx="3135904" cy="461665"/>
            <a:chOff x="8721723" y="5581107"/>
            <a:chExt cx="3371395" cy="461665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7E07277-4133-40A1-B083-54E2E7C63982}"/>
                </a:ext>
              </a:extLst>
            </p:cNvPr>
            <p:cNvSpPr txBox="1"/>
            <p:nvPr/>
          </p:nvSpPr>
          <p:spPr>
            <a:xfrm>
              <a:off x="9077020" y="5581107"/>
              <a:ext cx="301609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i="0" u="none" strike="noStrike" dirty="0">
                  <a:solidFill>
                    <a:srgbClr val="A4B856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&gt; 8 миллионов </a:t>
              </a:r>
              <a:r>
                <a:rPr lang="ru-RU" sz="120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исследований обработали ИИ-сервисы</a:t>
              </a:r>
              <a:endParaRPr lang="ru-RU" sz="1200" dirty="0">
                <a:solidFill>
                  <a:srgbClr val="1B2E5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B4BFC53E-8160-48EF-9135-288BE7C1F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7712767">
              <a:off x="8726950" y="5637377"/>
              <a:ext cx="237788" cy="248241"/>
            </a:xfrm>
            <a:prstGeom prst="rect">
              <a:avLst/>
            </a:prstGeom>
          </p:spPr>
        </p:pic>
      </p:grp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F4DD5880-D3BC-4CE9-804A-ADE0AD6D3266}"/>
              </a:ext>
            </a:extLst>
          </p:cNvPr>
          <p:cNvSpPr/>
          <p:nvPr/>
        </p:nvSpPr>
        <p:spPr>
          <a:xfrm>
            <a:off x="743410" y="4843344"/>
            <a:ext cx="7892154" cy="1549829"/>
          </a:xfrm>
          <a:prstGeom prst="roundRect">
            <a:avLst>
              <a:gd name="adj" fmla="val 9652"/>
            </a:avLst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BC81294-05A5-408B-9AB4-6CCE971245E1}"/>
              </a:ext>
            </a:extLst>
          </p:cNvPr>
          <p:cNvSpPr/>
          <p:nvPr/>
        </p:nvSpPr>
        <p:spPr>
          <a:xfrm>
            <a:off x="570189" y="4612919"/>
            <a:ext cx="3410632" cy="476831"/>
          </a:xfrm>
          <a:prstGeom prst="roundRect">
            <a:avLst>
              <a:gd name="adj" fmla="val 28744"/>
            </a:avLst>
          </a:prstGeom>
          <a:solidFill>
            <a:srgbClr val="A4B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E62C51B-6689-4C73-964B-41B8BD0FEBA6}"/>
              </a:ext>
            </a:extLst>
          </p:cNvPr>
          <p:cNvSpPr txBox="1"/>
          <p:nvPr/>
        </p:nvSpPr>
        <p:spPr>
          <a:xfrm>
            <a:off x="743411" y="4674611"/>
            <a:ext cx="3149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цифровом виде хранятся: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A5FBEBE9-334A-42AA-859A-0E45C5AC1D85}"/>
              </a:ext>
            </a:extLst>
          </p:cNvPr>
          <p:cNvGrpSpPr/>
          <p:nvPr/>
        </p:nvGrpSpPr>
        <p:grpSpPr>
          <a:xfrm>
            <a:off x="941240" y="5252359"/>
            <a:ext cx="2109273" cy="945028"/>
            <a:chOff x="3929939" y="2403576"/>
            <a:chExt cx="2109273" cy="945028"/>
          </a:xfrm>
        </p:grpSpPr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26A7F9B7-5903-4930-AFB2-38782B3783A3}"/>
                </a:ext>
              </a:extLst>
            </p:cNvPr>
            <p:cNvSpPr/>
            <p:nvPr/>
          </p:nvSpPr>
          <p:spPr>
            <a:xfrm>
              <a:off x="3929939" y="2492840"/>
              <a:ext cx="809426" cy="809426"/>
            </a:xfrm>
            <a:prstGeom prst="ellipse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18C8C63-7125-4AFC-837A-0414B0D7E3DF}"/>
                </a:ext>
              </a:extLst>
            </p:cNvPr>
            <p:cNvSpPr txBox="1"/>
            <p:nvPr/>
          </p:nvSpPr>
          <p:spPr>
            <a:xfrm>
              <a:off x="4153484" y="2403576"/>
              <a:ext cx="10165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2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430</a:t>
              </a:r>
              <a:endParaRPr lang="ru-RU" sz="32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416E062C-0E65-498B-AD13-4D92D7308A25}"/>
                </a:ext>
              </a:extLst>
            </p:cNvPr>
            <p:cNvSpPr txBox="1"/>
            <p:nvPr/>
          </p:nvSpPr>
          <p:spPr>
            <a:xfrm>
              <a:off x="3939583" y="2501703"/>
              <a:ext cx="3515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&gt;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93A1B70-DD86-47CF-80D7-4F67E124701B}"/>
                </a:ext>
              </a:extLst>
            </p:cNvPr>
            <p:cNvSpPr txBox="1"/>
            <p:nvPr/>
          </p:nvSpPr>
          <p:spPr>
            <a:xfrm>
              <a:off x="4856930" y="2492858"/>
              <a:ext cx="11822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млн.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C66DBE00-5CF3-4237-8DEB-1AA13A090F4D}"/>
                </a:ext>
              </a:extLst>
            </p:cNvPr>
            <p:cNvSpPr txBox="1"/>
            <p:nvPr/>
          </p:nvSpPr>
          <p:spPr>
            <a:xfrm>
              <a:off x="4169382" y="2948494"/>
              <a:ext cx="137552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протоколов осмотров врачей</a:t>
              </a:r>
              <a:endParaRPr lang="ru-RU" sz="1000" dirty="0">
                <a:solidFill>
                  <a:srgbClr val="1B2E5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id="{D431140B-5192-40BA-AD48-C75F1704B4F2}"/>
              </a:ext>
            </a:extLst>
          </p:cNvPr>
          <p:cNvGrpSpPr/>
          <p:nvPr/>
        </p:nvGrpSpPr>
        <p:grpSpPr>
          <a:xfrm>
            <a:off x="2840372" y="5252359"/>
            <a:ext cx="2125175" cy="898690"/>
            <a:chOff x="5968019" y="2403576"/>
            <a:chExt cx="2125175" cy="898690"/>
          </a:xfrm>
        </p:grpSpPr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DBD18F95-E50B-4234-9308-5CAB8D2F405E}"/>
                </a:ext>
              </a:extLst>
            </p:cNvPr>
            <p:cNvSpPr/>
            <p:nvPr/>
          </p:nvSpPr>
          <p:spPr>
            <a:xfrm>
              <a:off x="5968019" y="2492840"/>
              <a:ext cx="809426" cy="809426"/>
            </a:xfrm>
            <a:prstGeom prst="ellipse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38D646C5-CECF-461A-9C96-9A15A0DD47E7}"/>
                </a:ext>
              </a:extLst>
            </p:cNvPr>
            <p:cNvSpPr txBox="1"/>
            <p:nvPr/>
          </p:nvSpPr>
          <p:spPr>
            <a:xfrm>
              <a:off x="6191564" y="2403576"/>
              <a:ext cx="10165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2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63</a:t>
              </a:r>
              <a:endParaRPr lang="ru-RU" sz="32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0BEB371-C80A-4F89-BF15-F878251CC9E8}"/>
                </a:ext>
              </a:extLst>
            </p:cNvPr>
            <p:cNvSpPr txBox="1"/>
            <p:nvPr/>
          </p:nvSpPr>
          <p:spPr>
            <a:xfrm>
              <a:off x="5977663" y="2501703"/>
              <a:ext cx="3515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&gt;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C2695C24-A9B9-41BE-AE6F-891C825174F9}"/>
                </a:ext>
              </a:extLst>
            </p:cNvPr>
            <p:cNvSpPr txBox="1"/>
            <p:nvPr/>
          </p:nvSpPr>
          <p:spPr>
            <a:xfrm>
              <a:off x="6910912" y="2500806"/>
              <a:ext cx="11822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млн.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1CF4FF3-864D-47DF-A0C9-589CC062EA8D}"/>
                </a:ext>
              </a:extLst>
            </p:cNvPr>
            <p:cNvSpPr txBox="1"/>
            <p:nvPr/>
          </p:nvSpPr>
          <p:spPr>
            <a:xfrm>
              <a:off x="6294929" y="2948494"/>
              <a:ext cx="114008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рецептов</a:t>
              </a:r>
              <a:endParaRPr lang="ru-RU" sz="1000" dirty="0">
                <a:solidFill>
                  <a:srgbClr val="1B2E5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0E0D7F62-D0D3-4C2C-B659-90DF5289D3BE}"/>
              </a:ext>
            </a:extLst>
          </p:cNvPr>
          <p:cNvGrpSpPr/>
          <p:nvPr/>
        </p:nvGrpSpPr>
        <p:grpSpPr>
          <a:xfrm>
            <a:off x="4742254" y="5252359"/>
            <a:ext cx="2125175" cy="945028"/>
            <a:chOff x="7948384" y="2445639"/>
            <a:chExt cx="2125175" cy="945028"/>
          </a:xfrm>
        </p:grpSpPr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299D870A-8CC3-4DC1-B1B2-D249A7FCF00F}"/>
                </a:ext>
              </a:extLst>
            </p:cNvPr>
            <p:cNvSpPr/>
            <p:nvPr/>
          </p:nvSpPr>
          <p:spPr>
            <a:xfrm>
              <a:off x="7948384" y="2534903"/>
              <a:ext cx="809426" cy="809426"/>
            </a:xfrm>
            <a:prstGeom prst="ellipse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BACD261-9210-4055-89EE-FD4A9AC271E9}"/>
                </a:ext>
              </a:extLst>
            </p:cNvPr>
            <p:cNvSpPr txBox="1"/>
            <p:nvPr/>
          </p:nvSpPr>
          <p:spPr>
            <a:xfrm>
              <a:off x="8171929" y="2445639"/>
              <a:ext cx="10165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2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320</a:t>
              </a:r>
              <a:endParaRPr lang="ru-RU" sz="32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A2994E6-2074-41BE-B708-8F1F5B5EAD90}"/>
                </a:ext>
              </a:extLst>
            </p:cNvPr>
            <p:cNvSpPr txBox="1"/>
            <p:nvPr/>
          </p:nvSpPr>
          <p:spPr>
            <a:xfrm>
              <a:off x="7958028" y="2543766"/>
              <a:ext cx="3515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&gt;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929C9F5-004B-409E-9131-C36D13DCD7F6}"/>
                </a:ext>
              </a:extLst>
            </p:cNvPr>
            <p:cNvSpPr txBox="1"/>
            <p:nvPr/>
          </p:nvSpPr>
          <p:spPr>
            <a:xfrm>
              <a:off x="8891277" y="2519019"/>
              <a:ext cx="11822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млн.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1BCE95D6-8F03-46CD-9E04-7CB6F59816F2}"/>
                </a:ext>
              </a:extLst>
            </p:cNvPr>
            <p:cNvSpPr txBox="1"/>
            <p:nvPr/>
          </p:nvSpPr>
          <p:spPr>
            <a:xfrm>
              <a:off x="8203733" y="2990557"/>
              <a:ext cx="114008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результатов анализов</a:t>
              </a: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EDD7682E-ED02-4456-B4FB-577D33C40148}"/>
              </a:ext>
            </a:extLst>
          </p:cNvPr>
          <p:cNvGrpSpPr/>
          <p:nvPr/>
        </p:nvGrpSpPr>
        <p:grpSpPr>
          <a:xfrm>
            <a:off x="6598211" y="5252359"/>
            <a:ext cx="2196736" cy="945028"/>
            <a:chOff x="9907502" y="3382147"/>
            <a:chExt cx="2196736" cy="945028"/>
          </a:xfrm>
        </p:grpSpPr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4BD81BAD-E5C6-452C-89C8-EB0020FE4C67}"/>
                </a:ext>
              </a:extLst>
            </p:cNvPr>
            <p:cNvSpPr/>
            <p:nvPr/>
          </p:nvSpPr>
          <p:spPr>
            <a:xfrm>
              <a:off x="9907502" y="3471411"/>
              <a:ext cx="809426" cy="809426"/>
            </a:xfrm>
            <a:prstGeom prst="ellipse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6149E33F-11AC-4811-BB19-82C0537A7925}"/>
                </a:ext>
              </a:extLst>
            </p:cNvPr>
            <p:cNvSpPr txBox="1"/>
            <p:nvPr/>
          </p:nvSpPr>
          <p:spPr>
            <a:xfrm>
              <a:off x="10131047" y="3382147"/>
              <a:ext cx="118228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2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2,7</a:t>
              </a:r>
              <a:endParaRPr lang="ru-RU" sz="32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88A09A1A-C8DC-4007-8378-0EEA900835D7}"/>
                </a:ext>
              </a:extLst>
            </p:cNvPr>
            <p:cNvSpPr txBox="1"/>
            <p:nvPr/>
          </p:nvSpPr>
          <p:spPr>
            <a:xfrm>
              <a:off x="9917146" y="3480274"/>
              <a:ext cx="3515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&gt;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3423699C-D46D-4CF5-83EA-86669D381620}"/>
                </a:ext>
              </a:extLst>
            </p:cNvPr>
            <p:cNvSpPr txBox="1"/>
            <p:nvPr/>
          </p:nvSpPr>
          <p:spPr>
            <a:xfrm>
              <a:off x="10921956" y="3479380"/>
              <a:ext cx="11822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млн.</a:t>
              </a:r>
              <a:endParaRPr lang="ru-RU" sz="2400" dirty="0">
                <a:solidFill>
                  <a:srgbClr val="7E9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37CBF4C7-ACCA-40B2-8BDD-3F8D2038243D}"/>
                </a:ext>
              </a:extLst>
            </p:cNvPr>
            <p:cNvSpPr txBox="1"/>
            <p:nvPr/>
          </p:nvSpPr>
          <p:spPr>
            <a:xfrm>
              <a:off x="10250314" y="3927065"/>
              <a:ext cx="163688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выписных эпикризов из стационаров</a:t>
              </a:r>
            </a:p>
          </p:txBody>
        </p:sp>
      </p:grpSp>
      <p:pic>
        <p:nvPicPr>
          <p:cNvPr id="121" name="Рисунок 120">
            <a:extLst>
              <a:ext uri="{FF2B5EF4-FFF2-40B4-BE49-F238E27FC236}">
                <a16:creationId xmlns:a16="http://schemas.microsoft.com/office/drawing/2014/main" id="{4F9671C2-8FBE-4D0A-8C80-89BD720A63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" t="514" r="23422" b="777"/>
          <a:stretch/>
        </p:blipFill>
        <p:spPr bwMode="auto">
          <a:xfrm>
            <a:off x="8062380" y="1530131"/>
            <a:ext cx="3813311" cy="3287335"/>
          </a:xfrm>
          <a:custGeom>
            <a:avLst/>
            <a:gdLst>
              <a:gd name="connsiteX0" fmla="*/ 821834 w 3813311"/>
              <a:gd name="connsiteY0" fmla="*/ 0 h 3287335"/>
              <a:gd name="connsiteX1" fmla="*/ 2991477 w 3813311"/>
              <a:gd name="connsiteY1" fmla="*/ 0 h 3287335"/>
              <a:gd name="connsiteX2" fmla="*/ 3813311 w 3813311"/>
              <a:gd name="connsiteY2" fmla="*/ 1643668 h 3287335"/>
              <a:gd name="connsiteX3" fmla="*/ 2991477 w 3813311"/>
              <a:gd name="connsiteY3" fmla="*/ 3287335 h 3287335"/>
              <a:gd name="connsiteX4" fmla="*/ 821834 w 3813311"/>
              <a:gd name="connsiteY4" fmla="*/ 3287335 h 3287335"/>
              <a:gd name="connsiteX5" fmla="*/ 0 w 3813311"/>
              <a:gd name="connsiteY5" fmla="*/ 1643668 h 328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3311" h="3287335">
                <a:moveTo>
                  <a:pt x="821834" y="0"/>
                </a:moveTo>
                <a:lnTo>
                  <a:pt x="2991477" y="0"/>
                </a:lnTo>
                <a:lnTo>
                  <a:pt x="3813311" y="1643668"/>
                </a:lnTo>
                <a:lnTo>
                  <a:pt x="2991477" y="3287335"/>
                </a:lnTo>
                <a:lnTo>
                  <a:pt x="821834" y="3287335"/>
                </a:lnTo>
                <a:lnTo>
                  <a:pt x="0" y="164366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Шестиугольник 126">
            <a:extLst>
              <a:ext uri="{FF2B5EF4-FFF2-40B4-BE49-F238E27FC236}">
                <a16:creationId xmlns:a16="http://schemas.microsoft.com/office/drawing/2014/main" id="{EE0FA890-0935-4A56-B2FC-B8BBABCDE337}"/>
              </a:ext>
            </a:extLst>
          </p:cNvPr>
          <p:cNvSpPr/>
          <p:nvPr/>
        </p:nvSpPr>
        <p:spPr>
          <a:xfrm>
            <a:off x="7232728" y="1775185"/>
            <a:ext cx="1493084" cy="1287141"/>
          </a:xfrm>
          <a:prstGeom prst="hexagon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Шестиугольник 127">
            <a:extLst>
              <a:ext uri="{FF2B5EF4-FFF2-40B4-BE49-F238E27FC236}">
                <a16:creationId xmlns:a16="http://schemas.microsoft.com/office/drawing/2014/main" id="{6B59AF23-5509-441B-8419-1129802DD9D3}"/>
              </a:ext>
            </a:extLst>
          </p:cNvPr>
          <p:cNvSpPr/>
          <p:nvPr/>
        </p:nvSpPr>
        <p:spPr>
          <a:xfrm>
            <a:off x="10654671" y="4344672"/>
            <a:ext cx="1131372" cy="975321"/>
          </a:xfrm>
          <a:prstGeom prst="hexagon">
            <a:avLst/>
          </a:prstGeom>
          <a:noFill/>
          <a:ln w="12700">
            <a:solidFill>
              <a:srgbClr val="A4B856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9" name="Рисунок 128">
            <a:extLst>
              <a:ext uri="{FF2B5EF4-FFF2-40B4-BE49-F238E27FC236}">
                <a16:creationId xmlns:a16="http://schemas.microsoft.com/office/drawing/2014/main" id="{2C65F92F-BC6E-4757-A089-A59009154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4" t="1357" r="2059" b="54236"/>
          <a:stretch/>
        </p:blipFill>
        <p:spPr bwMode="auto">
          <a:xfrm>
            <a:off x="8766848" y="4891780"/>
            <a:ext cx="1798175" cy="1550151"/>
          </a:xfrm>
          <a:custGeom>
            <a:avLst/>
            <a:gdLst>
              <a:gd name="connsiteX0" fmla="*/ 387538 w 1798175"/>
              <a:gd name="connsiteY0" fmla="*/ 0 h 1550151"/>
              <a:gd name="connsiteX1" fmla="*/ 1410637 w 1798175"/>
              <a:gd name="connsiteY1" fmla="*/ 0 h 1550151"/>
              <a:gd name="connsiteX2" fmla="*/ 1798175 w 1798175"/>
              <a:gd name="connsiteY2" fmla="*/ 775076 h 1550151"/>
              <a:gd name="connsiteX3" fmla="*/ 1410637 w 1798175"/>
              <a:gd name="connsiteY3" fmla="*/ 1550151 h 1550151"/>
              <a:gd name="connsiteX4" fmla="*/ 387538 w 1798175"/>
              <a:gd name="connsiteY4" fmla="*/ 1550151 h 1550151"/>
              <a:gd name="connsiteX5" fmla="*/ 0 w 1798175"/>
              <a:gd name="connsiteY5" fmla="*/ 775076 h 1550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98175" h="1550151">
                <a:moveTo>
                  <a:pt x="387538" y="0"/>
                </a:moveTo>
                <a:lnTo>
                  <a:pt x="1410637" y="0"/>
                </a:lnTo>
                <a:lnTo>
                  <a:pt x="1798175" y="775076"/>
                </a:lnTo>
                <a:lnTo>
                  <a:pt x="1410637" y="1550151"/>
                </a:lnTo>
                <a:lnTo>
                  <a:pt x="387538" y="1550151"/>
                </a:lnTo>
                <a:lnTo>
                  <a:pt x="0" y="775076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03155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3EDBA9E-8FDD-49F3-860C-B91C75A5A1FB}"/>
              </a:ext>
            </a:extLst>
          </p:cNvPr>
          <p:cNvSpPr/>
          <p:nvPr/>
        </p:nvSpPr>
        <p:spPr>
          <a:xfrm>
            <a:off x="603250" y="954048"/>
            <a:ext cx="9283700" cy="18000"/>
          </a:xfrm>
          <a:prstGeom prst="rect">
            <a:avLst/>
          </a:prstGeom>
          <a:solidFill>
            <a:srgbClr val="1B2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10E198A-6544-4AFA-BFDA-1AC2DB1266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634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3EF1A2-0334-4349-A0BA-6DDC83356BB6}"/>
              </a:ext>
            </a:extLst>
          </p:cNvPr>
          <p:cNvSpPr txBox="1"/>
          <p:nvPr/>
        </p:nvSpPr>
        <p:spPr>
          <a:xfrm>
            <a:off x="1163344" y="368300"/>
            <a:ext cx="76885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i="0" u="none" strike="noStrike" dirty="0" err="1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ациентоориентированный</a:t>
            </a:r>
            <a:r>
              <a:rPr lang="ru-RU" sz="3000" b="1" i="0" u="none" strike="noStrike" dirty="0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подход</a:t>
            </a:r>
            <a:endParaRPr lang="ru-RU" sz="3000" dirty="0">
              <a:solidFill>
                <a:srgbClr val="1B2E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6D370BC-1279-43AB-B90F-B7B96EA35D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578088" y="519827"/>
            <a:ext cx="336318" cy="351103"/>
          </a:xfrm>
          <a:prstGeom prst="rect">
            <a:avLst/>
          </a:prstGeom>
        </p:spPr>
      </p:pic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F1A72F32-F154-41F5-8478-C8CD68EC61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56152" y="545907"/>
            <a:ext cx="1364438" cy="404418"/>
          </a:xfrm>
          <a:prstGeom prst="rect">
            <a:avLst/>
          </a:prstGeom>
        </p:spPr>
      </p:pic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D7335790-EE54-433E-9C0F-68A8DF4C641C}"/>
              </a:ext>
            </a:extLst>
          </p:cNvPr>
          <p:cNvSpPr/>
          <p:nvPr/>
        </p:nvSpPr>
        <p:spPr>
          <a:xfrm>
            <a:off x="976707" y="1383227"/>
            <a:ext cx="5087490" cy="302554"/>
          </a:xfrm>
          <a:prstGeom prst="roundRect">
            <a:avLst>
              <a:gd name="adj" fmla="val 28744"/>
            </a:avLst>
          </a:prstGeom>
          <a:solidFill>
            <a:srgbClr val="A4B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0638A2F-FFF3-412E-A891-219CB7A03820}"/>
              </a:ext>
            </a:extLst>
          </p:cNvPr>
          <p:cNvSpPr txBox="1"/>
          <p:nvPr/>
        </p:nvSpPr>
        <p:spPr>
          <a:xfrm>
            <a:off x="1106024" y="1359374"/>
            <a:ext cx="4958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новленные городские поликлиники -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4E69642-94F4-416E-9913-3C13CB300B32}"/>
              </a:ext>
            </a:extLst>
          </p:cNvPr>
          <p:cNvSpPr txBox="1"/>
          <p:nvPr/>
        </p:nvSpPr>
        <p:spPr>
          <a:xfrm>
            <a:off x="996010" y="1718358"/>
            <a:ext cx="506818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то более современный подход к оказанию медицинских услуг, в основе которого - доброжелательность и </a:t>
            </a:r>
            <a:r>
              <a:rPr lang="ru-RU" sz="1400" b="0" i="0" u="none" strike="noStrike" dirty="0" err="1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циентоориентированность</a:t>
            </a:r>
            <a:endParaRPr lang="ru-RU" sz="1400" b="0" i="0" u="none" strike="noStrike" dirty="0">
              <a:solidFill>
                <a:srgbClr val="1B2E5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548A76A9-38C0-4D97-8AD8-B7950D449CD5}"/>
              </a:ext>
            </a:extLst>
          </p:cNvPr>
          <p:cNvSpPr/>
          <p:nvPr/>
        </p:nvSpPr>
        <p:spPr>
          <a:xfrm>
            <a:off x="996009" y="2742721"/>
            <a:ext cx="5694921" cy="1930578"/>
          </a:xfrm>
          <a:prstGeom prst="roundRect">
            <a:avLst>
              <a:gd name="adj" fmla="val 9652"/>
            </a:avLst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62D10095-28EA-48F4-8026-7053846514B0}"/>
              </a:ext>
            </a:extLst>
          </p:cNvPr>
          <p:cNvSpPr/>
          <p:nvPr/>
        </p:nvSpPr>
        <p:spPr>
          <a:xfrm>
            <a:off x="1248632" y="2879333"/>
            <a:ext cx="1041470" cy="1041470"/>
          </a:xfrm>
          <a:prstGeom prst="ellipse">
            <a:avLst/>
          </a:prstGeom>
          <a:solidFill>
            <a:srgbClr val="FDDD51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9B24140-BE55-4856-84D5-301CB22AA139}"/>
              </a:ext>
            </a:extLst>
          </p:cNvPr>
          <p:cNvSpPr txBox="1"/>
          <p:nvPr/>
        </p:nvSpPr>
        <p:spPr>
          <a:xfrm>
            <a:off x="1793325" y="3057461"/>
            <a:ext cx="44300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 dirty="0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Реализовать такой подход помогает персонал центров госуслуг «Мои документы»</a:t>
            </a:r>
            <a:endParaRPr lang="ru-RU" sz="1400" dirty="0">
              <a:solidFill>
                <a:srgbClr val="1B2E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EBA9102-3D5F-4295-B4C9-202F694FFC09}"/>
              </a:ext>
            </a:extLst>
          </p:cNvPr>
          <p:cNvSpPr txBox="1"/>
          <p:nvPr/>
        </p:nvSpPr>
        <p:spPr>
          <a:xfrm>
            <a:off x="1383250" y="2921027"/>
            <a:ext cx="4370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60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5AD9543-56A5-43B7-B167-98828937FBAA}"/>
              </a:ext>
            </a:extLst>
          </p:cNvPr>
          <p:cNvSpPr txBox="1"/>
          <p:nvPr/>
        </p:nvSpPr>
        <p:spPr>
          <a:xfrm>
            <a:off x="3728169" y="3858373"/>
            <a:ext cx="26451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трудников МФЦ работают администраторами </a:t>
            </a:r>
          </a:p>
          <a:p>
            <a:r>
              <a:rPr lang="ru-RU" sz="1200" b="0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поликлиниках </a:t>
            </a:r>
            <a:endParaRPr lang="ru-RU" sz="1200" dirty="0">
              <a:solidFill>
                <a:srgbClr val="A4B85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06AF60F-7AA3-4EB4-B2E5-A6BE988C6879}"/>
              </a:ext>
            </a:extLst>
          </p:cNvPr>
          <p:cNvSpPr txBox="1"/>
          <p:nvPr/>
        </p:nvSpPr>
        <p:spPr>
          <a:xfrm>
            <a:off x="2255479" y="3873379"/>
            <a:ext cx="830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,5</a:t>
            </a:r>
            <a:endParaRPr lang="ru-RU" sz="3600" dirty="0">
              <a:solidFill>
                <a:srgbClr val="A4B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4A7C4D-5857-4363-B277-C2395EC6A08D}"/>
              </a:ext>
            </a:extLst>
          </p:cNvPr>
          <p:cNvSpPr txBox="1"/>
          <p:nvPr/>
        </p:nvSpPr>
        <p:spPr>
          <a:xfrm>
            <a:off x="2041578" y="3971506"/>
            <a:ext cx="4599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endParaRPr lang="ru-RU" sz="2400" dirty="0">
              <a:solidFill>
                <a:srgbClr val="A4B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DE2872E-8E6A-494D-A649-550821BF6831}"/>
              </a:ext>
            </a:extLst>
          </p:cNvPr>
          <p:cNvSpPr txBox="1"/>
          <p:nvPr/>
        </p:nvSpPr>
        <p:spPr>
          <a:xfrm>
            <a:off x="2963304" y="4003467"/>
            <a:ext cx="11822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тыс.</a:t>
            </a:r>
            <a:endParaRPr lang="ru-RU" sz="2400" dirty="0">
              <a:solidFill>
                <a:srgbClr val="A4B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6B9D70D-9468-4BAE-BA39-EE9CF1074205}"/>
              </a:ext>
            </a:extLst>
          </p:cNvPr>
          <p:cNvSpPr txBox="1"/>
          <p:nvPr/>
        </p:nvSpPr>
        <p:spPr>
          <a:xfrm>
            <a:off x="746247" y="4992330"/>
            <a:ext cx="80332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знакомиться с ценностями и принципами работы поликлиник пациенты могут: </a:t>
            </a:r>
            <a:endParaRPr lang="ru-RU" sz="14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0389972-1E1E-4EB0-AB0E-2210D10FF509}"/>
              </a:ext>
            </a:extLst>
          </p:cNvPr>
          <p:cNvSpPr txBox="1"/>
          <p:nvPr/>
        </p:nvSpPr>
        <p:spPr>
          <a:xfrm>
            <a:off x="1363767" y="5527345"/>
            <a:ext cx="24964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стендах в поликлиниках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DAE5F404-C885-40C1-9993-1B00DA2BD8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1013696" y="5583615"/>
            <a:ext cx="237788" cy="248241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5094BFC3-D678-46DA-894B-69B524312180}"/>
              </a:ext>
            </a:extLst>
          </p:cNvPr>
          <p:cNvSpPr txBox="1"/>
          <p:nvPr/>
        </p:nvSpPr>
        <p:spPr>
          <a:xfrm>
            <a:off x="1370824" y="6023393"/>
            <a:ext cx="4136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пециальных информационных буклетах 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FC6B393B-919E-4B94-80E9-8070AE687A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1020755" y="6089036"/>
            <a:ext cx="237788" cy="248241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33FAA50A-3AC8-446D-9103-6604AEEE8FF2}"/>
              </a:ext>
            </a:extLst>
          </p:cNvPr>
          <p:cNvSpPr txBox="1"/>
          <p:nvPr/>
        </p:nvSpPr>
        <p:spPr>
          <a:xfrm>
            <a:off x="4580388" y="5527345"/>
            <a:ext cx="21105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электронных письмах 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7C75C1B2-566B-470D-8B14-6FF0F8112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4230319" y="5583615"/>
            <a:ext cx="237788" cy="248241"/>
          </a:xfrm>
          <a:prstGeom prst="rect">
            <a:avLst/>
          </a:prstGeom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29B1FC7F-0562-4DF9-A4DB-2C4D2F2BA7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81" t="5357" r="21160" b="11512"/>
          <a:stretch/>
        </p:blipFill>
        <p:spPr bwMode="auto">
          <a:xfrm>
            <a:off x="8059465" y="2680919"/>
            <a:ext cx="3996110" cy="3444920"/>
          </a:xfrm>
          <a:custGeom>
            <a:avLst/>
            <a:gdLst>
              <a:gd name="connsiteX0" fmla="*/ 861231 w 3996110"/>
              <a:gd name="connsiteY0" fmla="*/ 0 h 3444920"/>
              <a:gd name="connsiteX1" fmla="*/ 3134880 w 3996110"/>
              <a:gd name="connsiteY1" fmla="*/ 0 h 3444920"/>
              <a:gd name="connsiteX2" fmla="*/ 3996110 w 3996110"/>
              <a:gd name="connsiteY2" fmla="*/ 1722460 h 3444920"/>
              <a:gd name="connsiteX3" fmla="*/ 3134880 w 3996110"/>
              <a:gd name="connsiteY3" fmla="*/ 3444920 h 3444920"/>
              <a:gd name="connsiteX4" fmla="*/ 861231 w 3996110"/>
              <a:gd name="connsiteY4" fmla="*/ 3444920 h 3444920"/>
              <a:gd name="connsiteX5" fmla="*/ 0 w 3996110"/>
              <a:gd name="connsiteY5" fmla="*/ 1722460 h 344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6110" h="3444920">
                <a:moveTo>
                  <a:pt x="861231" y="0"/>
                </a:moveTo>
                <a:lnTo>
                  <a:pt x="3134880" y="0"/>
                </a:lnTo>
                <a:lnTo>
                  <a:pt x="3996110" y="1722460"/>
                </a:lnTo>
                <a:lnTo>
                  <a:pt x="3134880" y="3444920"/>
                </a:lnTo>
                <a:lnTo>
                  <a:pt x="861231" y="3444920"/>
                </a:lnTo>
                <a:lnTo>
                  <a:pt x="0" y="172246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Шестиугольник 63">
            <a:extLst>
              <a:ext uri="{FF2B5EF4-FFF2-40B4-BE49-F238E27FC236}">
                <a16:creationId xmlns:a16="http://schemas.microsoft.com/office/drawing/2014/main" id="{F5FAA29E-F708-4788-B558-B2C00C835213}"/>
              </a:ext>
            </a:extLst>
          </p:cNvPr>
          <p:cNvSpPr/>
          <p:nvPr/>
        </p:nvSpPr>
        <p:spPr>
          <a:xfrm>
            <a:off x="7227969" y="3604803"/>
            <a:ext cx="1372840" cy="1183482"/>
          </a:xfrm>
          <a:prstGeom prst="hexagon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Шестиугольник 68">
            <a:extLst>
              <a:ext uri="{FF2B5EF4-FFF2-40B4-BE49-F238E27FC236}">
                <a16:creationId xmlns:a16="http://schemas.microsoft.com/office/drawing/2014/main" id="{B4811467-746B-40C2-B46E-814A20C050A3}"/>
              </a:ext>
            </a:extLst>
          </p:cNvPr>
          <p:cNvSpPr/>
          <p:nvPr/>
        </p:nvSpPr>
        <p:spPr>
          <a:xfrm>
            <a:off x="9511225" y="1945706"/>
            <a:ext cx="1131372" cy="975321"/>
          </a:xfrm>
          <a:prstGeom prst="hexagon">
            <a:avLst/>
          </a:prstGeom>
          <a:noFill/>
          <a:ln w="12700">
            <a:solidFill>
              <a:srgbClr val="A4B856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8A045167-84B3-45A8-91F3-CAFC19436B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72" t="1350" r="24753" b="16532"/>
          <a:stretch/>
        </p:blipFill>
        <p:spPr bwMode="auto">
          <a:xfrm>
            <a:off x="6848591" y="1169968"/>
            <a:ext cx="2257201" cy="1945863"/>
          </a:xfrm>
          <a:custGeom>
            <a:avLst/>
            <a:gdLst>
              <a:gd name="connsiteX0" fmla="*/ 486466 w 2257201"/>
              <a:gd name="connsiteY0" fmla="*/ 0 h 1945863"/>
              <a:gd name="connsiteX1" fmla="*/ 1770735 w 2257201"/>
              <a:gd name="connsiteY1" fmla="*/ 0 h 1945863"/>
              <a:gd name="connsiteX2" fmla="*/ 2257201 w 2257201"/>
              <a:gd name="connsiteY2" fmla="*/ 972932 h 1945863"/>
              <a:gd name="connsiteX3" fmla="*/ 1770735 w 2257201"/>
              <a:gd name="connsiteY3" fmla="*/ 1945863 h 1945863"/>
              <a:gd name="connsiteX4" fmla="*/ 486466 w 2257201"/>
              <a:gd name="connsiteY4" fmla="*/ 1945863 h 1945863"/>
              <a:gd name="connsiteX5" fmla="*/ 0 w 2257201"/>
              <a:gd name="connsiteY5" fmla="*/ 972932 h 1945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57201" h="1945863">
                <a:moveTo>
                  <a:pt x="486466" y="0"/>
                </a:moveTo>
                <a:lnTo>
                  <a:pt x="1770735" y="0"/>
                </a:lnTo>
                <a:lnTo>
                  <a:pt x="2257201" y="972932"/>
                </a:lnTo>
                <a:lnTo>
                  <a:pt x="1770735" y="1945863"/>
                </a:lnTo>
                <a:lnTo>
                  <a:pt x="486466" y="1945863"/>
                </a:lnTo>
                <a:lnTo>
                  <a:pt x="0" y="97293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65021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3EDBA9E-8FDD-49F3-860C-B91C75A5A1FB}"/>
              </a:ext>
            </a:extLst>
          </p:cNvPr>
          <p:cNvSpPr/>
          <p:nvPr/>
        </p:nvSpPr>
        <p:spPr>
          <a:xfrm>
            <a:off x="596900" y="954048"/>
            <a:ext cx="9283700" cy="18000"/>
          </a:xfrm>
          <a:prstGeom prst="rect">
            <a:avLst/>
          </a:prstGeom>
          <a:solidFill>
            <a:srgbClr val="1B2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10E198A-6544-4AFA-BFDA-1AC2DB1266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3EF1A2-0334-4349-A0BA-6DDC83356BB6}"/>
              </a:ext>
            </a:extLst>
          </p:cNvPr>
          <p:cNvSpPr txBox="1"/>
          <p:nvPr/>
        </p:nvSpPr>
        <p:spPr>
          <a:xfrm>
            <a:off x="1163344" y="368300"/>
            <a:ext cx="76885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i="0" u="none" strike="noStrike" dirty="0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троительство и капитальны</a:t>
            </a:r>
            <a:r>
              <a:rPr lang="ru-RU" sz="3000" b="1" dirty="0">
                <a:solidFill>
                  <a:srgbClr val="1B2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</a:t>
            </a:r>
            <a:r>
              <a:rPr lang="ru-RU" sz="3000" b="1" i="0" u="none" strike="noStrike" dirty="0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ремонт</a:t>
            </a:r>
            <a:endParaRPr lang="ru-RU" sz="3000" dirty="0">
              <a:solidFill>
                <a:srgbClr val="1B2E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6D370BC-1279-43AB-B90F-B7B96EA35D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578088" y="519827"/>
            <a:ext cx="336318" cy="351103"/>
          </a:xfrm>
          <a:prstGeom prst="rect">
            <a:avLst/>
          </a:prstGeom>
        </p:spPr>
      </p:pic>
      <p:pic>
        <p:nvPicPr>
          <p:cNvPr id="118" name="Рисунок 117">
            <a:extLst>
              <a:ext uri="{FF2B5EF4-FFF2-40B4-BE49-F238E27FC236}">
                <a16:creationId xmlns:a16="http://schemas.microsoft.com/office/drawing/2014/main" id="{33F86456-55E1-4981-A772-7E6DE283E4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56152" y="545907"/>
            <a:ext cx="1364438" cy="404418"/>
          </a:xfrm>
          <a:prstGeom prst="rect">
            <a:avLst/>
          </a:prstGeom>
        </p:spPr>
      </p:pic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F27565BC-2C29-44BF-A288-EA84C2B853D8}"/>
              </a:ext>
            </a:extLst>
          </p:cNvPr>
          <p:cNvSpPr/>
          <p:nvPr/>
        </p:nvSpPr>
        <p:spPr>
          <a:xfrm>
            <a:off x="981197" y="1343730"/>
            <a:ext cx="7224806" cy="2716006"/>
          </a:xfrm>
          <a:prstGeom prst="roundRect">
            <a:avLst>
              <a:gd name="adj" fmla="val 9652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1E16EEE-E3CE-4A57-9B71-BF45466E6484}"/>
              </a:ext>
            </a:extLst>
          </p:cNvPr>
          <p:cNvSpPr txBox="1"/>
          <p:nvPr/>
        </p:nvSpPr>
        <p:spPr>
          <a:xfrm>
            <a:off x="1926530" y="1429059"/>
            <a:ext cx="5279850" cy="374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поликлиник</a:t>
            </a:r>
            <a:endParaRPr lang="ru-RU" sz="2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8FB64857-6117-4F05-AF5A-44B947E06C82}"/>
              </a:ext>
            </a:extLst>
          </p:cNvPr>
          <p:cNvGrpSpPr/>
          <p:nvPr/>
        </p:nvGrpSpPr>
        <p:grpSpPr>
          <a:xfrm>
            <a:off x="872916" y="1081710"/>
            <a:ext cx="922838" cy="922838"/>
            <a:chOff x="787623" y="1428528"/>
            <a:chExt cx="787447" cy="787447"/>
          </a:xfrm>
          <a:solidFill>
            <a:srgbClr val="4694DA"/>
          </a:solidFill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5E014938-763C-4730-9526-59369CE177F6}"/>
                </a:ext>
              </a:extLst>
            </p:cNvPr>
            <p:cNvSpPr/>
            <p:nvPr/>
          </p:nvSpPr>
          <p:spPr>
            <a:xfrm>
              <a:off x="787623" y="1428528"/>
              <a:ext cx="787447" cy="787447"/>
            </a:xfrm>
            <a:prstGeom prst="ellipse">
              <a:avLst/>
            </a:prstGeom>
            <a:solidFill>
              <a:srgbClr val="A4B8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1B2E51"/>
                </a:solidFill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2D3C25C7-B5E8-469A-8D97-53929601F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974" y="1526829"/>
              <a:ext cx="528187" cy="528187"/>
            </a:xfrm>
            <a:prstGeom prst="rect">
              <a:avLst/>
            </a:prstGeom>
            <a:noFill/>
          </p:spPr>
        </p:pic>
      </p:grp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579CF63A-0F51-49BD-9807-9652578F45FE}"/>
              </a:ext>
            </a:extLst>
          </p:cNvPr>
          <p:cNvSpPr/>
          <p:nvPr/>
        </p:nvSpPr>
        <p:spPr>
          <a:xfrm>
            <a:off x="2035987" y="1831687"/>
            <a:ext cx="4863662" cy="68649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19EFE12-E99E-467D-A5A0-E91EF56FCBEE}"/>
              </a:ext>
            </a:extLst>
          </p:cNvPr>
          <p:cNvSpPr txBox="1"/>
          <p:nvPr/>
        </p:nvSpPr>
        <p:spPr>
          <a:xfrm>
            <a:off x="2586752" y="1914685"/>
            <a:ext cx="45033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Закончен самый масштабный проект за всю историю московского здравоохранения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1CD38B2-8685-4AFB-8631-2766555E8C01}"/>
              </a:ext>
            </a:extLst>
          </p:cNvPr>
          <p:cNvSpPr txBox="1"/>
          <p:nvPr/>
        </p:nvSpPr>
        <p:spPr>
          <a:xfrm>
            <a:off x="2149978" y="1699241"/>
            <a:ext cx="4370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2E0C2F9-9FDD-4889-9BCE-0DD3B94EC908}"/>
              </a:ext>
            </a:extLst>
          </p:cNvPr>
          <p:cNvSpPr txBox="1"/>
          <p:nvPr/>
        </p:nvSpPr>
        <p:spPr>
          <a:xfrm>
            <a:off x="3744580" y="2463721"/>
            <a:ext cx="12837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35</a:t>
            </a:r>
            <a:endParaRPr lang="ru-RU" sz="4800" dirty="0">
              <a:solidFill>
                <a:srgbClr val="A4B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0C7501D-FD08-4661-BFEB-7E282FA4F5C2}"/>
              </a:ext>
            </a:extLst>
          </p:cNvPr>
          <p:cNvSpPr txBox="1"/>
          <p:nvPr/>
        </p:nvSpPr>
        <p:spPr>
          <a:xfrm>
            <a:off x="3657793" y="3193736"/>
            <a:ext cx="15274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дание поликлиник</a:t>
            </a:r>
            <a:br>
              <a:rPr lang="ru-RU" sz="10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питально отремонтировано</a:t>
            </a:r>
            <a:endParaRPr lang="ru-RU" sz="10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E5993BE-05DE-454E-A17A-2C22C41DBB0A}"/>
              </a:ext>
            </a:extLst>
          </p:cNvPr>
          <p:cNvSpPr txBox="1"/>
          <p:nvPr/>
        </p:nvSpPr>
        <p:spPr>
          <a:xfrm>
            <a:off x="1061509" y="3648393"/>
            <a:ext cx="68490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ажный пункт модернизации поликлиник - обновление оборудования</a:t>
            </a:r>
            <a:endParaRPr lang="ru-RU"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Прямоугольник: скругленные углы 94">
            <a:extLst>
              <a:ext uri="{FF2B5EF4-FFF2-40B4-BE49-F238E27FC236}">
                <a16:creationId xmlns:a16="http://schemas.microsoft.com/office/drawing/2014/main" id="{3DF576EE-496E-493F-A2F9-2E4B74DDCFC4}"/>
              </a:ext>
            </a:extLst>
          </p:cNvPr>
          <p:cNvSpPr/>
          <p:nvPr/>
        </p:nvSpPr>
        <p:spPr>
          <a:xfrm>
            <a:off x="976706" y="4416988"/>
            <a:ext cx="8012841" cy="2052240"/>
          </a:xfrm>
          <a:prstGeom prst="roundRect">
            <a:avLst>
              <a:gd name="adj" fmla="val 9652"/>
            </a:avLst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07253D7B-230F-4CAC-BC66-5C36298D38A7}"/>
              </a:ext>
            </a:extLst>
          </p:cNvPr>
          <p:cNvSpPr txBox="1"/>
          <p:nvPr/>
        </p:nvSpPr>
        <p:spPr>
          <a:xfrm>
            <a:off x="1807627" y="4520019"/>
            <a:ext cx="5227794" cy="374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троительство новых поликлиник</a:t>
            </a:r>
            <a:endParaRPr lang="ru-RU" sz="2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80F3304A-CC6D-4658-B06D-B30A5CC730CB}"/>
              </a:ext>
            </a:extLst>
          </p:cNvPr>
          <p:cNvGrpSpPr/>
          <p:nvPr/>
        </p:nvGrpSpPr>
        <p:grpSpPr>
          <a:xfrm>
            <a:off x="868426" y="4154968"/>
            <a:ext cx="922838" cy="922838"/>
            <a:chOff x="787623" y="1428528"/>
            <a:chExt cx="787447" cy="787447"/>
          </a:xfrm>
          <a:solidFill>
            <a:srgbClr val="4694DA"/>
          </a:solidFill>
        </p:grpSpPr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58698F08-E6B3-46FD-BF97-B3CA2D5CCD2E}"/>
                </a:ext>
              </a:extLst>
            </p:cNvPr>
            <p:cNvSpPr/>
            <p:nvPr/>
          </p:nvSpPr>
          <p:spPr>
            <a:xfrm>
              <a:off x="787623" y="1428528"/>
              <a:ext cx="787447" cy="787447"/>
            </a:xfrm>
            <a:prstGeom prst="ellipse">
              <a:avLst/>
            </a:prstGeom>
            <a:solidFill>
              <a:srgbClr val="A4B8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1B2E51"/>
                </a:solidFill>
              </a:endParaRPr>
            </a:p>
          </p:txBody>
        </p:sp>
        <p:pic>
          <p:nvPicPr>
            <p:cNvPr id="105" name="Рисунок 104">
              <a:extLst>
                <a:ext uri="{FF2B5EF4-FFF2-40B4-BE49-F238E27FC236}">
                  <a16:creationId xmlns:a16="http://schemas.microsoft.com/office/drawing/2014/main" id="{9BFB71FE-6F1B-4DA9-8522-6619D4BD8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42901" y="1574644"/>
              <a:ext cx="458696" cy="458696"/>
            </a:xfrm>
            <a:prstGeom prst="rect">
              <a:avLst/>
            </a:prstGeom>
            <a:noFill/>
          </p:spPr>
        </p:pic>
      </p:grpSp>
      <p:sp>
        <p:nvSpPr>
          <p:cNvPr id="106" name="Прямоугольник: скругленные углы 105">
            <a:extLst>
              <a:ext uri="{FF2B5EF4-FFF2-40B4-BE49-F238E27FC236}">
                <a16:creationId xmlns:a16="http://schemas.microsoft.com/office/drawing/2014/main" id="{723E6EE8-2DBD-4E75-977D-27C0ACADFF2D}"/>
              </a:ext>
            </a:extLst>
          </p:cNvPr>
          <p:cNvSpPr/>
          <p:nvPr/>
        </p:nvSpPr>
        <p:spPr>
          <a:xfrm>
            <a:off x="1629446" y="5996844"/>
            <a:ext cx="6838990" cy="373024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570D044-B891-4BBC-A9C8-2F47AE3F188B}"/>
              </a:ext>
            </a:extLst>
          </p:cNvPr>
          <p:cNvSpPr txBox="1"/>
          <p:nvPr/>
        </p:nvSpPr>
        <p:spPr>
          <a:xfrm>
            <a:off x="1800515" y="6019039"/>
            <a:ext cx="6455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овременное цифровое оборудование мирового уровня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A60E0F-DDBD-4B01-ADFC-DB8D6D6EEE1C}"/>
              </a:ext>
            </a:extLst>
          </p:cNvPr>
          <p:cNvSpPr txBox="1"/>
          <p:nvPr/>
        </p:nvSpPr>
        <p:spPr>
          <a:xfrm>
            <a:off x="1408303" y="4795165"/>
            <a:ext cx="18634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2022 – 2025 год построено 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овых зданий, 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аний строятся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55A8264-A0A3-4F9A-9DFF-F8F348B58552}"/>
              </a:ext>
            </a:extLst>
          </p:cNvPr>
          <p:cNvSpPr txBox="1"/>
          <p:nvPr/>
        </p:nvSpPr>
        <p:spPr>
          <a:xfrm>
            <a:off x="1589112" y="5476014"/>
            <a:ext cx="15636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RU" sz="10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D9E46B75-6AF1-4B5B-8939-2A2B3F033FE8}"/>
              </a:ext>
            </a:extLst>
          </p:cNvPr>
          <p:cNvSpPr txBox="1"/>
          <p:nvPr/>
        </p:nvSpPr>
        <p:spPr>
          <a:xfrm>
            <a:off x="2999338" y="4913843"/>
            <a:ext cx="5706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0" u="none" strike="noStrike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овые подходы для получения качественной медпомощи: </a:t>
            </a:r>
            <a:endParaRPr lang="ru-RU"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968358D-0348-44E8-82C5-B95DC4D5DA46}"/>
              </a:ext>
            </a:extLst>
          </p:cNvPr>
          <p:cNvSpPr txBox="1"/>
          <p:nvPr/>
        </p:nvSpPr>
        <p:spPr>
          <a:xfrm>
            <a:off x="4502793" y="5345630"/>
            <a:ext cx="1486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цифровые сервисы и новые алгоритмы</a:t>
            </a:r>
            <a:endParaRPr lang="ru-RU" sz="10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3B76E18A-FE1D-471E-B413-E4D2FC2E0FE9}"/>
              </a:ext>
            </a:extLst>
          </p:cNvPr>
          <p:cNvSpPr txBox="1"/>
          <p:nvPr/>
        </p:nvSpPr>
        <p:spPr>
          <a:xfrm>
            <a:off x="6991841" y="5296647"/>
            <a:ext cx="11885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фортные условия</a:t>
            </a:r>
            <a:endParaRPr lang="ru-RU" sz="10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Шестиугольник 127">
            <a:extLst>
              <a:ext uri="{FF2B5EF4-FFF2-40B4-BE49-F238E27FC236}">
                <a16:creationId xmlns:a16="http://schemas.microsoft.com/office/drawing/2014/main" id="{1D06B1D5-C488-4ED6-94E7-B404CAE63FFD}"/>
              </a:ext>
            </a:extLst>
          </p:cNvPr>
          <p:cNvSpPr/>
          <p:nvPr/>
        </p:nvSpPr>
        <p:spPr>
          <a:xfrm>
            <a:off x="9431754" y="5104340"/>
            <a:ext cx="1070493" cy="922839"/>
          </a:xfrm>
          <a:prstGeom prst="hexagon">
            <a:avLst/>
          </a:prstGeom>
          <a:noFill/>
          <a:ln w="12700">
            <a:solidFill>
              <a:srgbClr val="A4B856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6" name="Группа 135">
            <a:extLst>
              <a:ext uri="{FF2B5EF4-FFF2-40B4-BE49-F238E27FC236}">
                <a16:creationId xmlns:a16="http://schemas.microsoft.com/office/drawing/2014/main" id="{209A02D0-9F4A-4E8D-B609-78BA3F85202D}"/>
              </a:ext>
            </a:extLst>
          </p:cNvPr>
          <p:cNvGrpSpPr/>
          <p:nvPr/>
        </p:nvGrpSpPr>
        <p:grpSpPr>
          <a:xfrm>
            <a:off x="3867078" y="5270253"/>
            <a:ext cx="584092" cy="591012"/>
            <a:chOff x="6217285" y="4406880"/>
            <a:chExt cx="584092" cy="591012"/>
          </a:xfrm>
        </p:grpSpPr>
        <p:sp>
          <p:nvSpPr>
            <p:cNvPr id="137" name="Овал 136">
              <a:extLst>
                <a:ext uri="{FF2B5EF4-FFF2-40B4-BE49-F238E27FC236}">
                  <a16:creationId xmlns:a16="http://schemas.microsoft.com/office/drawing/2014/main" id="{216B7C27-31AA-4725-A822-BFCFB0D03A09}"/>
                </a:ext>
              </a:extLst>
            </p:cNvPr>
            <p:cNvSpPr/>
            <p:nvPr/>
          </p:nvSpPr>
          <p:spPr>
            <a:xfrm>
              <a:off x="6236682" y="4406880"/>
              <a:ext cx="564695" cy="564695"/>
            </a:xfrm>
            <a:prstGeom prst="ellipse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38" name="Рисунок 137">
              <a:extLst>
                <a:ext uri="{FF2B5EF4-FFF2-40B4-BE49-F238E27FC236}">
                  <a16:creationId xmlns:a16="http://schemas.microsoft.com/office/drawing/2014/main" id="{ECAF6815-FA08-44DA-AC01-C8684C8300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17285" y="4515829"/>
              <a:ext cx="482063" cy="482063"/>
            </a:xfrm>
            <a:prstGeom prst="rect">
              <a:avLst/>
            </a:prstGeom>
          </p:spPr>
        </p:pic>
      </p:grpSp>
      <p:grpSp>
        <p:nvGrpSpPr>
          <p:cNvPr id="139" name="Группа 138">
            <a:extLst>
              <a:ext uri="{FF2B5EF4-FFF2-40B4-BE49-F238E27FC236}">
                <a16:creationId xmlns:a16="http://schemas.microsoft.com/office/drawing/2014/main" id="{4DAC2E45-D4BB-4FED-9026-21C11C57D034}"/>
              </a:ext>
            </a:extLst>
          </p:cNvPr>
          <p:cNvGrpSpPr/>
          <p:nvPr/>
        </p:nvGrpSpPr>
        <p:grpSpPr>
          <a:xfrm>
            <a:off x="6361680" y="5231697"/>
            <a:ext cx="574110" cy="615104"/>
            <a:chOff x="8517273" y="4402955"/>
            <a:chExt cx="574110" cy="615104"/>
          </a:xfrm>
        </p:grpSpPr>
        <p:sp>
          <p:nvSpPr>
            <p:cNvPr id="140" name="Овал 139">
              <a:extLst>
                <a:ext uri="{FF2B5EF4-FFF2-40B4-BE49-F238E27FC236}">
                  <a16:creationId xmlns:a16="http://schemas.microsoft.com/office/drawing/2014/main" id="{2A09274D-E77A-4D71-ABC8-EDE99741B858}"/>
                </a:ext>
              </a:extLst>
            </p:cNvPr>
            <p:cNvSpPr/>
            <p:nvPr/>
          </p:nvSpPr>
          <p:spPr>
            <a:xfrm>
              <a:off x="8526688" y="4402955"/>
              <a:ext cx="564695" cy="564695"/>
            </a:xfrm>
            <a:prstGeom prst="ellipse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41" name="Рисунок 140">
              <a:extLst>
                <a:ext uri="{FF2B5EF4-FFF2-40B4-BE49-F238E27FC236}">
                  <a16:creationId xmlns:a16="http://schemas.microsoft.com/office/drawing/2014/main" id="{9A97B34A-DCE1-4E16-84D4-97D5B03479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17273" y="4496179"/>
              <a:ext cx="521880" cy="521880"/>
            </a:xfrm>
            <a:prstGeom prst="rect">
              <a:avLst/>
            </a:prstGeom>
          </p:spPr>
        </p:pic>
      </p:grpSp>
      <p:pic>
        <p:nvPicPr>
          <p:cNvPr id="144" name="Рисунок 143">
            <a:extLst>
              <a:ext uri="{FF2B5EF4-FFF2-40B4-BE49-F238E27FC236}">
                <a16:creationId xmlns:a16="http://schemas.microsoft.com/office/drawing/2014/main" id="{5D578C46-A77D-4F30-835D-511DEB6EC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7" t="7296" r="3062" b="2971"/>
          <a:stretch>
            <a:fillRect/>
          </a:stretch>
        </p:blipFill>
        <p:spPr bwMode="auto">
          <a:xfrm>
            <a:off x="8599526" y="2031020"/>
            <a:ext cx="3329766" cy="2870486"/>
          </a:xfrm>
          <a:custGeom>
            <a:avLst/>
            <a:gdLst>
              <a:gd name="connsiteX0" fmla="*/ 717622 w 3329766"/>
              <a:gd name="connsiteY0" fmla="*/ 0 h 2870486"/>
              <a:gd name="connsiteX1" fmla="*/ 2612144 w 3329766"/>
              <a:gd name="connsiteY1" fmla="*/ 0 h 2870486"/>
              <a:gd name="connsiteX2" fmla="*/ 3329766 w 3329766"/>
              <a:gd name="connsiteY2" fmla="*/ 1435243 h 2870486"/>
              <a:gd name="connsiteX3" fmla="*/ 2612144 w 3329766"/>
              <a:gd name="connsiteY3" fmla="*/ 2870486 h 2870486"/>
              <a:gd name="connsiteX4" fmla="*/ 717622 w 3329766"/>
              <a:gd name="connsiteY4" fmla="*/ 2870486 h 2870486"/>
              <a:gd name="connsiteX5" fmla="*/ 0 w 3329766"/>
              <a:gd name="connsiteY5" fmla="*/ 1435243 h 2870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9766" h="2870486">
                <a:moveTo>
                  <a:pt x="717622" y="0"/>
                </a:moveTo>
                <a:lnTo>
                  <a:pt x="2612144" y="0"/>
                </a:lnTo>
                <a:lnTo>
                  <a:pt x="3329766" y="1435243"/>
                </a:lnTo>
                <a:lnTo>
                  <a:pt x="2612144" y="2870486"/>
                </a:lnTo>
                <a:lnTo>
                  <a:pt x="717622" y="2870486"/>
                </a:lnTo>
                <a:lnTo>
                  <a:pt x="0" y="14352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Рисунок 145">
            <a:extLst>
              <a:ext uri="{FF2B5EF4-FFF2-40B4-BE49-F238E27FC236}">
                <a16:creationId xmlns:a16="http://schemas.microsoft.com/office/drawing/2014/main" id="{AD6A4D14-7884-4755-A828-67922DA3E4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9" t="1985" r="24524" b="6257"/>
          <a:stretch>
            <a:fillRect/>
          </a:stretch>
        </p:blipFill>
        <p:spPr bwMode="auto">
          <a:xfrm>
            <a:off x="7413414" y="1434701"/>
            <a:ext cx="1755322" cy="1513209"/>
          </a:xfrm>
          <a:custGeom>
            <a:avLst/>
            <a:gdLst>
              <a:gd name="connsiteX0" fmla="*/ 378302 w 1755322"/>
              <a:gd name="connsiteY0" fmla="*/ 0 h 1513209"/>
              <a:gd name="connsiteX1" fmla="*/ 1377020 w 1755322"/>
              <a:gd name="connsiteY1" fmla="*/ 0 h 1513209"/>
              <a:gd name="connsiteX2" fmla="*/ 1755322 w 1755322"/>
              <a:gd name="connsiteY2" fmla="*/ 756605 h 1513209"/>
              <a:gd name="connsiteX3" fmla="*/ 1377020 w 1755322"/>
              <a:gd name="connsiteY3" fmla="*/ 1513209 h 1513209"/>
              <a:gd name="connsiteX4" fmla="*/ 378302 w 1755322"/>
              <a:gd name="connsiteY4" fmla="*/ 1513209 h 1513209"/>
              <a:gd name="connsiteX5" fmla="*/ 0 w 1755322"/>
              <a:gd name="connsiteY5" fmla="*/ 756605 h 1513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5322" h="1513209">
                <a:moveTo>
                  <a:pt x="378302" y="0"/>
                </a:moveTo>
                <a:lnTo>
                  <a:pt x="1377020" y="0"/>
                </a:lnTo>
                <a:lnTo>
                  <a:pt x="1755322" y="756605"/>
                </a:lnTo>
                <a:lnTo>
                  <a:pt x="1377020" y="1513209"/>
                </a:lnTo>
                <a:lnTo>
                  <a:pt x="378302" y="1513209"/>
                </a:lnTo>
                <a:lnTo>
                  <a:pt x="0" y="756605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Шестиугольник 124">
            <a:extLst>
              <a:ext uri="{FF2B5EF4-FFF2-40B4-BE49-F238E27FC236}">
                <a16:creationId xmlns:a16="http://schemas.microsoft.com/office/drawing/2014/main" id="{0AE4BE62-F311-47B3-B983-4846441BD192}"/>
              </a:ext>
            </a:extLst>
          </p:cNvPr>
          <p:cNvSpPr/>
          <p:nvPr/>
        </p:nvSpPr>
        <p:spPr>
          <a:xfrm>
            <a:off x="9136880" y="1594116"/>
            <a:ext cx="743720" cy="641138"/>
          </a:xfrm>
          <a:prstGeom prst="hexagon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799713"/>
                      <a:gd name="connsiteY0" fmla="*/ 2068842 h 4137684"/>
                      <a:gd name="connsiteX1" fmla="*/ 1034421 w 4799713"/>
                      <a:gd name="connsiteY1" fmla="*/ 1 h 4137684"/>
                      <a:gd name="connsiteX2" fmla="*/ 3765292 w 4799713"/>
                      <a:gd name="connsiteY2" fmla="*/ 1 h 4137684"/>
                      <a:gd name="connsiteX3" fmla="*/ 4799713 w 4799713"/>
                      <a:gd name="connsiteY3" fmla="*/ 2068842 h 4137684"/>
                      <a:gd name="connsiteX4" fmla="*/ 3765292 w 4799713"/>
                      <a:gd name="connsiteY4" fmla="*/ 4137683 h 4137684"/>
                      <a:gd name="connsiteX5" fmla="*/ 1034421 w 4799713"/>
                      <a:gd name="connsiteY5" fmla="*/ 4137683 h 4137684"/>
                      <a:gd name="connsiteX6" fmla="*/ 0 w 4799713"/>
                      <a:gd name="connsiteY6" fmla="*/ 2068842 h 41376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9713" h="4137684" extrusionOk="0">
                        <a:moveTo>
                          <a:pt x="0" y="2068842"/>
                        </a:moveTo>
                        <a:cubicBezTo>
                          <a:pt x="504029" y="1326083"/>
                          <a:pt x="789019" y="750215"/>
                          <a:pt x="1034421" y="1"/>
                        </a:cubicBezTo>
                        <a:cubicBezTo>
                          <a:pt x="1756130" y="132883"/>
                          <a:pt x="2679658" y="-84950"/>
                          <a:pt x="3765292" y="1"/>
                        </a:cubicBezTo>
                        <a:cubicBezTo>
                          <a:pt x="4287078" y="742599"/>
                          <a:pt x="4297045" y="1415008"/>
                          <a:pt x="4799713" y="2068842"/>
                        </a:cubicBezTo>
                        <a:cubicBezTo>
                          <a:pt x="4412604" y="2888200"/>
                          <a:pt x="4082128" y="3844968"/>
                          <a:pt x="3765292" y="4137683"/>
                        </a:cubicBezTo>
                        <a:cubicBezTo>
                          <a:pt x="3314856" y="4187216"/>
                          <a:pt x="1378450" y="4152492"/>
                          <a:pt x="1034421" y="4137683"/>
                        </a:cubicBezTo>
                        <a:cubicBezTo>
                          <a:pt x="503629" y="3272066"/>
                          <a:pt x="304199" y="2514725"/>
                          <a:pt x="0" y="206884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8" name="Рисунок 147">
            <a:extLst>
              <a:ext uri="{FF2B5EF4-FFF2-40B4-BE49-F238E27FC236}">
                <a16:creationId xmlns:a16="http://schemas.microsoft.com/office/drawing/2014/main" id="{65DCD497-84F7-4DC3-92B2-3E2FA1CD66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3" t="8768" r="23875" b="19699"/>
          <a:stretch/>
        </p:blipFill>
        <p:spPr bwMode="auto">
          <a:xfrm>
            <a:off x="10049450" y="4973119"/>
            <a:ext cx="1743226" cy="1502781"/>
          </a:xfrm>
          <a:custGeom>
            <a:avLst/>
            <a:gdLst>
              <a:gd name="connsiteX0" fmla="*/ 375695 w 1743226"/>
              <a:gd name="connsiteY0" fmla="*/ 0 h 1502781"/>
              <a:gd name="connsiteX1" fmla="*/ 1367531 w 1743226"/>
              <a:gd name="connsiteY1" fmla="*/ 0 h 1502781"/>
              <a:gd name="connsiteX2" fmla="*/ 1743226 w 1743226"/>
              <a:gd name="connsiteY2" fmla="*/ 751391 h 1502781"/>
              <a:gd name="connsiteX3" fmla="*/ 1367531 w 1743226"/>
              <a:gd name="connsiteY3" fmla="*/ 1502781 h 1502781"/>
              <a:gd name="connsiteX4" fmla="*/ 375695 w 1743226"/>
              <a:gd name="connsiteY4" fmla="*/ 1502781 h 1502781"/>
              <a:gd name="connsiteX5" fmla="*/ 0 w 1743226"/>
              <a:gd name="connsiteY5" fmla="*/ 751391 h 1502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3226" h="1502781">
                <a:moveTo>
                  <a:pt x="375695" y="0"/>
                </a:moveTo>
                <a:lnTo>
                  <a:pt x="1367531" y="0"/>
                </a:lnTo>
                <a:lnTo>
                  <a:pt x="1743226" y="751391"/>
                </a:lnTo>
                <a:lnTo>
                  <a:pt x="1367531" y="1502781"/>
                </a:lnTo>
                <a:lnTo>
                  <a:pt x="375695" y="1502781"/>
                </a:lnTo>
                <a:lnTo>
                  <a:pt x="0" y="751391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49929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id="{8C044FF5-E3BE-4002-B9A8-A68C4D4A17C2}"/>
              </a:ext>
            </a:extLst>
          </p:cNvPr>
          <p:cNvGrpSpPr/>
          <p:nvPr/>
        </p:nvGrpSpPr>
        <p:grpSpPr>
          <a:xfrm flipH="1" flipV="1">
            <a:off x="-10240" y="0"/>
            <a:ext cx="8738567" cy="602589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22C70F5E-4105-42EE-85F4-45683B973A8C}"/>
                </a:ext>
              </a:extLst>
            </p:cNvPr>
            <p:cNvSpPr/>
            <p:nvPr/>
          </p:nvSpPr>
          <p:spPr>
            <a:xfrm rot="10800000">
              <a:off x="3928744" y="4745829"/>
              <a:ext cx="8260080" cy="18174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98027">
                <a:defRPr/>
              </a:pPr>
              <a:r>
                <a:rPr lang="ru-RU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троительство нового здания детской поликлиники</a:t>
              </a:r>
              <a:endParaRPr lang="en-US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027">
                <a:defRPr/>
              </a:pPr>
              <a:endParaRPr lang="en-US" sz="1400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864714" y="1018"/>
          <a:ext cx="1358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64714" y="1018"/>
                        <a:ext cx="1358" cy="10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8664" y="6500682"/>
            <a:ext cx="12200665" cy="357319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824" tIns="34912" rIns="69824" bIns="34912" rtlCol="0" anchor="ctr"/>
          <a:lstStyle/>
          <a:p>
            <a:pPr algn="ctr"/>
            <a:endParaRPr lang="ru-RU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06594" y="6584358"/>
            <a:ext cx="826357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6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454" y="6483634"/>
            <a:ext cx="550960" cy="41367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74165" y="713738"/>
            <a:ext cx="6165348" cy="5433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8193">
              <a:lnSpc>
                <a:spcPct val="107000"/>
              </a:lnSpc>
              <a:spcBef>
                <a:spcPts val="229"/>
              </a:spcBef>
              <a:defRPr/>
            </a:pP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Комфортная, продуманная до мелочей, среда для посетителей и персонала:</a:t>
            </a:r>
          </a:p>
          <a:p>
            <a:pPr marL="356391" indent="-218199">
              <a:lnSpc>
                <a:spcPct val="107000"/>
              </a:lnSpc>
              <a:spcBef>
                <a:spcPts val="229"/>
              </a:spcBef>
              <a:buFontTx/>
              <a:buChar char="-"/>
              <a:defRPr/>
            </a:pP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плая, отапливаемая колясочная;</a:t>
            </a:r>
          </a:p>
          <a:p>
            <a:pPr marL="356391" indent="-218199">
              <a:lnSpc>
                <a:spcPct val="107000"/>
              </a:lnSpc>
              <a:spcBef>
                <a:spcPts val="229"/>
              </a:spcBef>
              <a:buFontTx/>
              <a:buChar char="-"/>
              <a:defRPr/>
            </a:pP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стема центрального кондиционирования помещений, рассчитанная на поддержание</a:t>
            </a:r>
            <a:r>
              <a:rPr lang="en-US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фортных условия пребывания при температуры окружающего воздуха до +35°С с системой очистки и обеззараживания;</a:t>
            </a:r>
          </a:p>
          <a:p>
            <a:pPr marL="356391" indent="-218199">
              <a:lnSpc>
                <a:spcPct val="107000"/>
              </a:lnSpc>
              <a:spcBef>
                <a:spcPts val="229"/>
              </a:spcBef>
              <a:buFontTx/>
              <a:buChar char="-"/>
              <a:defRPr/>
            </a:pP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фты в медицинском исполнении с частотным регулированием привода без машинного отделения, с учетом доступности для маломобильных пациентов и, при необходимости, для перевозки пожарных подразделений;</a:t>
            </a:r>
          </a:p>
          <a:p>
            <a:pPr marL="356391" indent="-218199">
              <a:lnSpc>
                <a:spcPct val="107000"/>
              </a:lnSpc>
              <a:spcBef>
                <a:spcPts val="229"/>
              </a:spcBef>
              <a:buFontTx/>
              <a:buChar char="-"/>
              <a:defRPr/>
            </a:pP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уфет для посетителей и персонала;</a:t>
            </a:r>
          </a:p>
          <a:p>
            <a:pPr marL="356391" indent="-218199">
              <a:lnSpc>
                <a:spcPct val="107000"/>
              </a:lnSpc>
              <a:spcBef>
                <a:spcPts val="229"/>
              </a:spcBef>
              <a:buFontTx/>
              <a:buChar char="-"/>
              <a:defRPr/>
            </a:pP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гровые зоны, совмещающие один или несколько модулей: зону хранения (различные стеллажи и шкафы для творческих материалов, уголок настольных игр и рисования (отдельные столы со стульями) с мягкими игровыми блоками, столами и стульями для настольных игр;</a:t>
            </a:r>
          </a:p>
          <a:p>
            <a:pPr marL="356391" indent="-218199">
              <a:lnSpc>
                <a:spcPct val="107000"/>
              </a:lnSpc>
              <a:spcBef>
                <a:spcPts val="229"/>
              </a:spcBef>
              <a:buFontTx/>
              <a:buChar char="-"/>
              <a:defRPr/>
            </a:pP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ятным дополнением служит </a:t>
            </a:r>
            <a:r>
              <a:rPr lang="ru-RU" sz="1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айфай</a:t>
            </a:r>
            <a:r>
              <a:rPr lang="ru-RU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а также розетки для зарядки мобильных устройств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E3AB401-0EBA-031A-4D96-82A0CC314D7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047" y="612918"/>
            <a:ext cx="5389787" cy="2900902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1528778-23F5-F7D8-BB1C-A3E27C74EE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14" y="3561527"/>
            <a:ext cx="5389787" cy="2900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3995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C334FB-BFE7-EB4F-8F5B-271754DDD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499" y="426852"/>
            <a:ext cx="6988629" cy="1273956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Bodoni MT Black" panose="02070A03080606020203" pitchFamily="18" charset="0"/>
              </a:rPr>
              <a:t>ГБУЗ ”ДГП</a:t>
            </a:r>
            <a:r>
              <a:rPr lang="ru-RU" dirty="0">
                <a:latin typeface="Bodoni MT Black" panose="02070A03080606020203" pitchFamily="18" charset="0"/>
              </a:rPr>
              <a:t>130</a:t>
            </a:r>
            <a:r>
              <a:rPr lang="en-US" dirty="0">
                <a:latin typeface="Bodoni MT Black" panose="02070A03080606020203" pitchFamily="18" charset="0"/>
              </a:rPr>
              <a:t> ДЗМ”</a:t>
            </a:r>
            <a:br>
              <a:rPr lang="en-US" dirty="0">
                <a:latin typeface="Bodoni MT Black" panose="02070A03080606020203" pitchFamily="18" charset="0"/>
              </a:rPr>
            </a:br>
            <a:r>
              <a:rPr lang="ru-RU" dirty="0">
                <a:latin typeface="Bodoni MT Black" panose="02070A03080606020203" pitchFamily="18" charset="0"/>
              </a:rPr>
              <a:t>Елисов Виктор Николаевич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C91703C-4178-D444-B7A9-C02D685C4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86600" y="2228851"/>
            <a:ext cx="4659086" cy="4079607"/>
          </a:xfrm>
          <a:prstGeom prst="rect">
            <a:avLst/>
          </a:prstGeom>
          <a:noFill/>
        </p:spPr>
        <p:txBody>
          <a:bodyPr wrap="square" lIns="77751" tIns="38876" rIns="77751" bIns="38876" rtlCol="0">
            <a:spAutoFit/>
          </a:bodyPr>
          <a:lstStyle/>
          <a:p>
            <a:pPr algn="ctr"/>
            <a:r>
              <a:rPr lang="ru-RU" sz="2000" b="1" dirty="0"/>
              <a:t>В период пандемии информация в интернете становится самой доступной. </a:t>
            </a:r>
          </a:p>
          <a:p>
            <a:pPr algn="ctr"/>
            <a:endParaRPr lang="ru-RU" sz="2000" b="1" dirty="0"/>
          </a:p>
          <a:p>
            <a:pPr algn="ctr"/>
            <a:r>
              <a:rPr lang="ru-RU" sz="2000" b="1" dirty="0"/>
              <a:t>Наша поликлиника представлена в социальных сетях.</a:t>
            </a:r>
          </a:p>
          <a:p>
            <a:pPr algn="ctr"/>
            <a:r>
              <a:rPr lang="ru-RU" sz="2000" b="1" dirty="0"/>
              <a:t>Мы идём в ногу со временем, стараемся предоставлять объективную, полезную информацию на своих страницах и всегда готовы ответить на ваши вопросы и комментарии.</a:t>
            </a:r>
          </a:p>
          <a:p>
            <a:pPr algn="ctr"/>
            <a:endParaRPr lang="ru-RU" sz="2000" b="1" dirty="0"/>
          </a:p>
          <a:p>
            <a:pPr algn="ctr"/>
            <a:r>
              <a:rPr lang="ru-RU" sz="2000" b="1" dirty="0"/>
              <a:t>Подписывайтесь на страницы поликлиники!</a:t>
            </a:r>
          </a:p>
        </p:txBody>
      </p:sp>
      <p:pic>
        <p:nvPicPr>
          <p:cNvPr id="9" name="Объект 8">
            <a:extLst>
              <a:ext uri="{FF2B5EF4-FFF2-40B4-BE49-F238E27FC236}">
                <a16:creationId xmlns:a16="http://schemas.microsoft.com/office/drawing/2014/main" id="{D4281D1E-A33D-4B29-A50D-EEE261A79B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56" y="2276872"/>
            <a:ext cx="7044981" cy="3960440"/>
          </a:xfrm>
        </p:spPr>
      </p:pic>
    </p:spTree>
    <p:extLst>
      <p:ext uri="{BB962C8B-B14F-4D97-AF65-F5344CB8AC3E}">
        <p14:creationId xmlns:p14="http://schemas.microsoft.com/office/powerpoint/2010/main" val="21379591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>
            <a:extLst>
              <a:ext uri="{FF2B5EF4-FFF2-40B4-BE49-F238E27FC236}">
                <a16:creationId xmlns:a16="http://schemas.microsoft.com/office/drawing/2014/main" id="{468247A6-08C7-41A1-892D-96162113E7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332656"/>
            <a:ext cx="5781675" cy="3238500"/>
          </a:xfr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DEB597F-BCFD-446B-87D5-AD493EAAE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F036C44-7306-4CA7-9903-2E57AC0A8B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19" y="3717032"/>
            <a:ext cx="2089706" cy="117833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39761A3-5D20-4058-ADD0-5C858FDFD90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649" y="3717032"/>
            <a:ext cx="2160240" cy="121810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71B908D-FBDA-4D7F-9A06-27643CB85F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9" y="3714592"/>
            <a:ext cx="2160240" cy="1218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620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id="{8C044FF5-E3BE-4002-B9A8-A68C4D4A17C2}"/>
              </a:ext>
            </a:extLst>
          </p:cNvPr>
          <p:cNvGrpSpPr/>
          <p:nvPr/>
        </p:nvGrpSpPr>
        <p:grpSpPr>
          <a:xfrm flipH="1" flipV="1">
            <a:off x="-7891" y="-4907"/>
            <a:ext cx="8738567" cy="602589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027">
                <a:defRPr/>
              </a:pPr>
              <a:endParaRPr lang="en-US" sz="1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027">
                <a:defRPr/>
              </a:pPr>
              <a:endParaRPr lang="en-US" sz="1400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864714" y="1018"/>
          <a:ext cx="1358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Слайд think-cell" r:id="rId5" imgW="180" imgH="180" progId="TCLayout.ActiveDocument.1">
                  <p:embed/>
                </p:oleObj>
              </mc:Choice>
              <mc:Fallback>
                <p:oleObj name="Слайд think-cell" r:id="rId5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64714" y="1018"/>
                        <a:ext cx="1358" cy="10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8664" y="6500682"/>
            <a:ext cx="12200665" cy="357319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824" tIns="34912" rIns="69824" bIns="34912" rtlCol="0" anchor="ctr"/>
          <a:lstStyle/>
          <a:p>
            <a:pPr algn="ctr"/>
            <a:endParaRPr lang="ru-RU" dirty="0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06594" y="6576212"/>
            <a:ext cx="826357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6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454" y="6475488"/>
            <a:ext cx="550960" cy="413673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id="{27DED578-B753-4908-AB1F-2780AD628A51}"/>
              </a:ext>
            </a:extLst>
          </p:cNvPr>
          <p:cNvSpPr/>
          <p:nvPr/>
        </p:nvSpPr>
        <p:spPr>
          <a:xfrm>
            <a:off x="84404" y="180974"/>
            <a:ext cx="8057464" cy="366869"/>
          </a:xfrm>
          <a:prstGeom prst="rect">
            <a:avLst/>
          </a:prstGeom>
        </p:spPr>
        <p:txBody>
          <a:bodyPr wrap="square" lIns="69824" tIns="34912" rIns="69824" bIns="34912">
            <a:spAutoFit/>
          </a:bodyPr>
          <a:lstStyle/>
          <a:p>
            <a:pPr marL="138193">
              <a:lnSpc>
                <a:spcPct val="107000"/>
              </a:lnSpc>
              <a:spcBef>
                <a:spcPts val="229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 НАШЕЙ ПОЛИКЛИНИКЕ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3DB576D-F473-4428-94DF-1E9C6157E9EC}"/>
              </a:ext>
            </a:extLst>
          </p:cNvPr>
          <p:cNvSpPr/>
          <p:nvPr/>
        </p:nvSpPr>
        <p:spPr>
          <a:xfrm>
            <a:off x="8070794" y="3414202"/>
            <a:ext cx="3016364" cy="11773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824" tIns="34912" rIns="69824" bIns="34912"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C2AA04D-A62D-449D-8298-4BB66BFCC33C}"/>
              </a:ext>
            </a:extLst>
          </p:cNvPr>
          <p:cNvSpPr txBox="1"/>
          <p:nvPr/>
        </p:nvSpPr>
        <p:spPr>
          <a:xfrm>
            <a:off x="8582195" y="3295753"/>
            <a:ext cx="1993571" cy="347505"/>
          </a:xfrm>
          <a:prstGeom prst="rect">
            <a:avLst/>
          </a:prstGeom>
          <a:noFill/>
        </p:spPr>
        <p:txBody>
          <a:bodyPr wrap="none" lIns="69824" tIns="34912" rIns="69824" bIns="34912" rtlCol="0">
            <a:spAutoFit/>
          </a:bodyPr>
          <a:lstStyle/>
          <a:p>
            <a:pPr algn="ctr"/>
            <a:r>
              <a:rPr lang="ru-RU" dirty="0"/>
              <a:t>Фото поликлиник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66415" y="759051"/>
            <a:ext cx="7113761" cy="4687154"/>
          </a:xfrm>
          <a:prstGeom prst="rect">
            <a:avLst/>
          </a:prstGeom>
        </p:spPr>
        <p:txBody>
          <a:bodyPr wrap="square" lIns="69824" tIns="34912" rIns="69824" bIns="34912">
            <a:spAutoFit/>
          </a:bodyPr>
          <a:lstStyle/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На территории района Фили-Давыдково развернуто 1 подразделение Государственного бюджетного учреждения здравоохранения города Москвы «Детская городская поликлиника № 130 Департамента здравоохранения города Москвы»</a:t>
            </a:r>
            <a:br>
              <a:rPr lang="ru-RU" sz="1500" b="1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</a:br>
            <a:r>
              <a:rPr lang="ru-RU" sz="1500" b="1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-  филиал №2: ул. Пивченкова д. 9</a:t>
            </a:r>
          </a:p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 (здание открыто после капитального ремонта 05.06.2023)</a:t>
            </a:r>
          </a:p>
          <a:p>
            <a:pPr algn="just" defTabSz="698236"/>
            <a:endParaRPr lang="ru-RU" sz="1500" b="1" kern="0" dirty="0">
              <a:solidFill>
                <a:srgbClr val="002960"/>
              </a:solidFill>
              <a:latin typeface="Arial"/>
              <a:ea typeface="+mj-ea"/>
              <a:cs typeface="+mj-cs"/>
            </a:endParaRPr>
          </a:p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Учреждение оказывает медицинскую помощь детям от 0 до 18 лет в рамках Территориальной программы обязательного медицинского страхования города Москвы. </a:t>
            </a:r>
          </a:p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Оказывает плановую и неотложную медицинскую помощь детскому населению</a:t>
            </a:r>
          </a:p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В структуру  </a:t>
            </a:r>
            <a:r>
              <a:rPr lang="ru-RU" sz="1500" b="1" kern="0" dirty="0">
                <a:solidFill>
                  <a:srgbClr val="FF0000"/>
                </a:solidFill>
                <a:latin typeface="Arial"/>
              </a:rPr>
              <a:t>филиала №2</a:t>
            </a:r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 </a:t>
            </a:r>
            <a:r>
              <a:rPr lang="ru-RU" sz="1500" b="1" kern="0" dirty="0">
                <a:solidFill>
                  <a:srgbClr val="FF0000"/>
                </a:solidFill>
                <a:latin typeface="Arial"/>
              </a:rPr>
              <a:t>ГБУЗ «ДГП № 130 ДЗМ» </a:t>
            </a:r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входят</a:t>
            </a:r>
          </a:p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 следующие подразделения:</a:t>
            </a:r>
          </a:p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-    педиатрическое отделение,</a:t>
            </a:r>
          </a:p>
          <a:p>
            <a:pPr algn="just" defTabSz="698236"/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-    отделение профилактики №2;</a:t>
            </a:r>
          </a:p>
          <a:p>
            <a:pPr marL="261838" indent="-261838" algn="just" defTabSz="698236">
              <a:buFontTx/>
              <a:buChar char="-"/>
            </a:pPr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Хирургический кабинет, кабинет врача-ортопеда-травматолога Неврологический, офтальмологический и оториноларингологический кабинеты;</a:t>
            </a:r>
          </a:p>
          <a:p>
            <a:pPr marL="285750" indent="-285750" algn="just" defTabSz="698236">
              <a:buFontTx/>
              <a:buChar char="-"/>
            </a:pPr>
            <a:r>
              <a:rPr lang="ru-RU" sz="1500" b="1" kern="0" dirty="0">
                <a:solidFill>
                  <a:srgbClr val="002960"/>
                </a:solidFill>
                <a:latin typeface="Arial"/>
              </a:rPr>
              <a:t>Кабинеты медицинской реабилитации;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341DD55-1245-4C7E-1056-BDB7773B06D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3626" y="190754"/>
            <a:ext cx="3942487" cy="262872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E859461-8947-0D5D-9C00-578048CB8D5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3626" y="2964895"/>
            <a:ext cx="3942487" cy="2627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19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1935"/>
          <a:stretch/>
        </p:blipFill>
        <p:spPr>
          <a:xfrm>
            <a:off x="-154565" y="-117860"/>
            <a:ext cx="12192000" cy="6975860"/>
          </a:xfrm>
          <a:prstGeom prst="rect">
            <a:avLst/>
          </a:prstGeom>
        </p:spPr>
      </p:pic>
      <p:sp>
        <p:nvSpPr>
          <p:cNvPr id="25" name="Скругленный прямоугольник 24"/>
          <p:cNvSpPr/>
          <p:nvPr/>
        </p:nvSpPr>
        <p:spPr>
          <a:xfrm>
            <a:off x="695325" y="1124744"/>
            <a:ext cx="10801350" cy="2720115"/>
          </a:xfrm>
          <a:prstGeom prst="roundRect">
            <a:avLst>
              <a:gd name="adj" fmla="val 1954"/>
            </a:avLst>
          </a:prstGeom>
          <a:solidFill>
            <a:srgbClr val="ECF4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4151784" y="1349682"/>
            <a:ext cx="1584176" cy="2345185"/>
          </a:xfrm>
          <a:prstGeom prst="roundRect">
            <a:avLst>
              <a:gd name="adj" fmla="val 4497"/>
            </a:avLst>
          </a:prstGeom>
          <a:solidFill>
            <a:srgbClr val="9FC63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035030" y="1323177"/>
            <a:ext cx="1440160" cy="2345185"/>
          </a:xfrm>
          <a:prstGeom prst="roundRect">
            <a:avLst>
              <a:gd name="adj" fmla="val 4497"/>
            </a:avLst>
          </a:prstGeom>
          <a:solidFill>
            <a:srgbClr val="9FC63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883094" y="1285023"/>
            <a:ext cx="1440160" cy="2345185"/>
          </a:xfrm>
          <a:prstGeom prst="roundRect">
            <a:avLst>
              <a:gd name="adj" fmla="val 4497"/>
            </a:avLst>
          </a:prstGeom>
          <a:solidFill>
            <a:srgbClr val="9FC63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9696400" y="1297524"/>
            <a:ext cx="1440160" cy="2345185"/>
          </a:xfrm>
          <a:prstGeom prst="roundRect">
            <a:avLst>
              <a:gd name="adj" fmla="val 4497"/>
            </a:avLst>
          </a:prstGeom>
          <a:solidFill>
            <a:srgbClr val="9FC63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495600" y="1297524"/>
            <a:ext cx="1440160" cy="2345185"/>
          </a:xfrm>
          <a:prstGeom prst="roundRect">
            <a:avLst>
              <a:gd name="adj" fmla="val 4497"/>
            </a:avLst>
          </a:prstGeom>
          <a:solidFill>
            <a:srgbClr val="9FC63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9FC63B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10515600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ные показатели работы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2495600" y="1309559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ГП № 130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. здание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295800" y="1304509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ГП № 130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1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6096000" y="1304509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ГП № 130 </a:t>
            </a:r>
          </a:p>
          <a:p>
            <a:r>
              <a:rPr lang="ru-RU" sz="1400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2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7896200" y="1297524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ГП № 130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3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9696400" y="1297524"/>
            <a:ext cx="1440160" cy="6913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ублёво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60278" y="2280858"/>
            <a:ext cx="183532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ощность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9FC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/>
        </p:nvSpPr>
        <p:spPr>
          <a:xfrm>
            <a:off x="2495600" y="1839179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62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6096000" y="1846164"/>
            <a:ext cx="1440160" cy="9237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19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295800" y="1839179"/>
            <a:ext cx="1440160" cy="9218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02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я 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7896200" y="1846165"/>
            <a:ext cx="1440160" cy="9147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63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я 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9696400" y="1846164"/>
            <a:ext cx="1440160" cy="9147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2495600" y="2830594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3 879</a:t>
            </a:r>
          </a:p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</a:p>
          <a:p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695325" y="3215413"/>
            <a:ext cx="1800275" cy="4272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икрепленное население</a:t>
            </a: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4295800" y="2830594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 897</a:t>
            </a:r>
          </a:p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6096000" y="2830594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 908</a:t>
            </a:r>
          </a:p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7896200" y="2844977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5 771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9696400" y="2844977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486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</a:p>
        </p:txBody>
      </p:sp>
      <p:sp>
        <p:nvSpPr>
          <p:cNvPr id="70" name="Заголовок 1"/>
          <p:cNvSpPr txBox="1">
            <a:spLocks/>
          </p:cNvSpPr>
          <p:nvPr/>
        </p:nvSpPr>
        <p:spPr>
          <a:xfrm>
            <a:off x="671945" y="4364110"/>
            <a:ext cx="10538980" cy="332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го          </a:t>
            </a:r>
            <a:r>
              <a:rPr lang="ru-RU" sz="1600" b="1" u="sng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исленность прикрепленного населения         </a:t>
            </a:r>
            <a:r>
              <a:rPr lang="ru-RU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 району Фили-Давыдково</a:t>
            </a:r>
          </a:p>
        </p:txBody>
      </p:sp>
      <p:graphicFrame>
        <p:nvGraphicFramePr>
          <p:cNvPr id="71" name="Диаграмма 70"/>
          <p:cNvGraphicFramePr/>
          <p:nvPr>
            <p:extLst>
              <p:ext uri="{D42A27DB-BD31-4B8C-83A1-F6EECF244321}">
                <p14:modId xmlns:p14="http://schemas.microsoft.com/office/powerpoint/2010/main" val="1690866686"/>
              </p:ext>
            </p:extLst>
          </p:nvPr>
        </p:nvGraphicFramePr>
        <p:xfrm>
          <a:off x="2102211" y="5085184"/>
          <a:ext cx="4209813" cy="1689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2" name="Заголовок 1"/>
          <p:cNvSpPr txBox="1">
            <a:spLocks/>
          </p:cNvSpPr>
          <p:nvPr/>
        </p:nvSpPr>
        <p:spPr>
          <a:xfrm>
            <a:off x="839416" y="5469362"/>
            <a:ext cx="1919668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2 941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а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88" y="4097991"/>
            <a:ext cx="1678348" cy="1150221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1556792"/>
            <a:ext cx="695612" cy="695612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029" y="2692492"/>
            <a:ext cx="806865" cy="552968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8448" y="4760820"/>
            <a:ext cx="1678348" cy="1150221"/>
          </a:xfrm>
          <a:prstGeom prst="rect">
            <a:avLst/>
          </a:prstGeom>
        </p:spPr>
      </p:pic>
      <p:sp>
        <p:nvSpPr>
          <p:cNvPr id="39" name="Заголовок 1"/>
          <p:cNvSpPr txBox="1">
            <a:spLocks/>
          </p:cNvSpPr>
          <p:nvPr/>
        </p:nvSpPr>
        <p:spPr>
          <a:xfrm>
            <a:off x="10236422" y="5911041"/>
            <a:ext cx="1800276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 908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а</a:t>
            </a:r>
          </a:p>
        </p:txBody>
      </p:sp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2797374764"/>
              </p:ext>
            </p:extLst>
          </p:nvPr>
        </p:nvGraphicFramePr>
        <p:xfrm>
          <a:off x="5791293" y="4941168"/>
          <a:ext cx="4209813" cy="1689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873050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697AFF2-A726-8B4B-981A-B22C3C2B8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400" dirty="0" err="1">
                <a:latin typeface="Bodoni MT Black" panose="02070A03080606020203" pitchFamily="18" charset="0"/>
              </a:rPr>
              <a:t>Медицинское</a:t>
            </a:r>
            <a:r>
              <a:rPr lang="en-US" sz="3400" dirty="0">
                <a:latin typeface="Bodoni MT Black" panose="02070A03080606020203" pitchFamily="18" charset="0"/>
              </a:rPr>
              <a:t> </a:t>
            </a:r>
            <a:r>
              <a:rPr lang="en-US" sz="3400" dirty="0" err="1">
                <a:latin typeface="Bodoni MT Black" panose="02070A03080606020203" pitchFamily="18" charset="0"/>
              </a:rPr>
              <a:t>наблюдение</a:t>
            </a:r>
            <a:r>
              <a:rPr lang="en-US" sz="3400" dirty="0">
                <a:latin typeface="Bodoni MT Black" panose="02070A03080606020203" pitchFamily="18" charset="0"/>
              </a:rPr>
              <a:t> и </a:t>
            </a:r>
            <a:r>
              <a:rPr lang="en-US" sz="3400" dirty="0" err="1">
                <a:latin typeface="Bodoni MT Black" panose="02070A03080606020203" pitchFamily="18" charset="0"/>
              </a:rPr>
              <a:t>вакцинация</a:t>
            </a:r>
            <a:r>
              <a:rPr lang="en-US" sz="3400" dirty="0">
                <a:latin typeface="Bodoni MT Black" panose="02070A03080606020203" pitchFamily="18" charset="0"/>
              </a:rPr>
              <a:t> </a:t>
            </a:r>
            <a:r>
              <a:rPr lang="en-US" sz="3400" dirty="0" err="1">
                <a:latin typeface="Bodoni MT Black" panose="02070A03080606020203" pitchFamily="18" charset="0"/>
              </a:rPr>
              <a:t>новорожденных</a:t>
            </a:r>
            <a:r>
              <a:rPr lang="en-US" sz="3400" dirty="0">
                <a:latin typeface="Bodoni MT Black" panose="02070A03080606020203" pitchFamily="18" charset="0"/>
              </a:rPr>
              <a:t>  - </a:t>
            </a:r>
            <a:r>
              <a:rPr lang="ru-RU" sz="3400" dirty="0">
                <a:latin typeface="Bodoni MT Black" panose="02070A03080606020203" pitchFamily="18" charset="0"/>
              </a:rPr>
              <a:t>1 978ребенок</a:t>
            </a:r>
            <a:endParaRPr lang="ru-RU" sz="3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91E2474-616E-9F4E-AAB4-D425EA230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8F0C940-7333-4EF0-A081-330DB144523E}"/>
              </a:ext>
            </a:extLst>
          </p:cNvPr>
          <p:cNvSpPr/>
          <p:nvPr/>
        </p:nvSpPr>
        <p:spPr>
          <a:xfrm>
            <a:off x="838200" y="5877271"/>
            <a:ext cx="4354286" cy="56434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1E3213D-6C89-4749-82B0-B713BE76BFE2}"/>
              </a:ext>
            </a:extLst>
          </p:cNvPr>
          <p:cNvSpPr/>
          <p:nvPr/>
        </p:nvSpPr>
        <p:spPr>
          <a:xfrm>
            <a:off x="6588018" y="5877271"/>
            <a:ext cx="4548542" cy="57606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130CE7A-DE92-403D-8A65-63580F5EE2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60947"/>
            <a:ext cx="3809899" cy="472514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3101F18-20B6-4AC7-BCE7-F93E254369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4" y="1656198"/>
            <a:ext cx="6634744" cy="4725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453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1935"/>
          <a:stretch/>
        </p:blipFill>
        <p:spPr>
          <a:xfrm>
            <a:off x="0" y="-90476"/>
            <a:ext cx="12192000" cy="6975860"/>
          </a:xfrm>
          <a:prstGeom prst="rect">
            <a:avLst/>
          </a:prstGeom>
        </p:spPr>
      </p:pic>
      <p:sp>
        <p:nvSpPr>
          <p:cNvPr id="19" name="Скругленный прямоугольник 18"/>
          <p:cNvSpPr/>
          <p:nvPr/>
        </p:nvSpPr>
        <p:spPr>
          <a:xfrm>
            <a:off x="5650351" y="1021063"/>
            <a:ext cx="6106772" cy="5506422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5605852" y="549275"/>
            <a:ext cx="5890822" cy="541655"/>
          </a:xfrm>
        </p:spPr>
        <p:txBody>
          <a:bodyPr>
            <a:normAutofit fontScale="90000"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я поликлиники в 2025 году 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5605852" y="549275"/>
            <a:ext cx="5890823" cy="0"/>
          </a:xfrm>
          <a:prstGeom prst="line">
            <a:avLst/>
          </a:prstGeom>
          <a:ln w="57150">
            <a:solidFill>
              <a:srgbClr val="9FC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Диаграмма 25"/>
          <p:cNvGraphicFramePr/>
          <p:nvPr>
            <p:extLst>
              <p:ext uri="{D42A27DB-BD31-4B8C-83A1-F6EECF244321}">
                <p14:modId xmlns:p14="http://schemas.microsoft.com/office/powerpoint/2010/main" val="3008893506"/>
              </p:ext>
            </p:extLst>
          </p:nvPr>
        </p:nvGraphicFramePr>
        <p:xfrm>
          <a:off x="5735960" y="1083025"/>
          <a:ext cx="5148428" cy="1553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Заголовок 1"/>
          <p:cNvSpPr txBox="1">
            <a:spLocks/>
          </p:cNvSpPr>
          <p:nvPr/>
        </p:nvSpPr>
        <p:spPr>
          <a:xfrm>
            <a:off x="5735960" y="1340768"/>
            <a:ext cx="3170742" cy="1535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го- 165 430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филактических- 110 510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 заболеванию: 54 920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605852" y="2636912"/>
            <a:ext cx="2794404" cy="3620809"/>
          </a:xfrm>
          <a:prstGeom prst="roundRect">
            <a:avLst>
              <a:gd name="adj" fmla="val 449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8551263" y="2636912"/>
            <a:ext cx="2764992" cy="3620809"/>
          </a:xfrm>
          <a:prstGeom prst="roundRect">
            <a:avLst>
              <a:gd name="adj" fmla="val 449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5879976" y="2708920"/>
            <a:ext cx="2304256" cy="3354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филактические приемы</a:t>
            </a:r>
          </a:p>
        </p:txBody>
      </p:sp>
      <p:sp>
        <p:nvSpPr>
          <p:cNvPr id="40" name="Заголовок 1"/>
          <p:cNvSpPr txBox="1">
            <a:spLocks/>
          </p:cNvSpPr>
          <p:nvPr/>
        </p:nvSpPr>
        <p:spPr>
          <a:xfrm>
            <a:off x="8760297" y="2708920"/>
            <a:ext cx="2447946" cy="3354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иемы по заболеванию</a:t>
            </a:r>
          </a:p>
        </p:txBody>
      </p:sp>
      <p:graphicFrame>
        <p:nvGraphicFramePr>
          <p:cNvPr id="41" name="Диаграмма 40"/>
          <p:cNvGraphicFramePr/>
          <p:nvPr>
            <p:extLst>
              <p:ext uri="{D42A27DB-BD31-4B8C-83A1-F6EECF244321}">
                <p14:modId xmlns:p14="http://schemas.microsoft.com/office/powerpoint/2010/main" val="665005066"/>
              </p:ext>
            </p:extLst>
          </p:nvPr>
        </p:nvGraphicFramePr>
        <p:xfrm>
          <a:off x="5252360" y="3044349"/>
          <a:ext cx="3159536" cy="3580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2" name="Диаграмма 41"/>
          <p:cNvGraphicFramePr/>
          <p:nvPr>
            <p:extLst>
              <p:ext uri="{D42A27DB-BD31-4B8C-83A1-F6EECF244321}">
                <p14:modId xmlns:p14="http://schemas.microsoft.com/office/powerpoint/2010/main" val="3103271650"/>
              </p:ext>
            </p:extLst>
          </p:nvPr>
        </p:nvGraphicFramePr>
        <p:xfrm>
          <a:off x="8551263" y="2988798"/>
          <a:ext cx="2760584" cy="3268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8906702" y="5317367"/>
            <a:ext cx="24482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735960" y="6315477"/>
            <a:ext cx="5400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 МО оказывает ОНСП детскому населению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5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36" y="-90476"/>
            <a:ext cx="556561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7811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1935"/>
          <a:stretch/>
        </p:blipFill>
        <p:spPr>
          <a:xfrm>
            <a:off x="0" y="-90476"/>
            <a:ext cx="12192000" cy="6975860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725364" y="404664"/>
            <a:ext cx="11424667" cy="23779"/>
          </a:xfrm>
          <a:prstGeom prst="line">
            <a:avLst/>
          </a:prstGeom>
          <a:ln w="57150">
            <a:solidFill>
              <a:srgbClr val="9FC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Заголовок 1"/>
          <p:cNvSpPr>
            <a:spLocks noGrp="1"/>
          </p:cNvSpPr>
          <p:nvPr>
            <p:ph type="title"/>
          </p:nvPr>
        </p:nvSpPr>
        <p:spPr>
          <a:xfrm>
            <a:off x="695250" y="549275"/>
            <a:ext cx="4752678" cy="829472"/>
          </a:xfrm>
        </p:spPr>
        <p:txBody>
          <a:bodyPr>
            <a:normAutofit fontScale="90000"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ети-сироты, находящиеся в ГКУ ЦСПР «Дом Детей» ДТиСЗН </a:t>
            </a:r>
            <a:r>
              <a:rPr lang="ru-RU" sz="3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.Москвы</a:t>
            </a:r>
            <a:endParaRPr lang="ru-RU" sz="3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087" y="1556792"/>
            <a:ext cx="700850" cy="70085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82" y="1556792"/>
            <a:ext cx="662057" cy="662057"/>
          </a:xfrm>
          <a:prstGeom prst="rect">
            <a:avLst/>
          </a:prstGeom>
        </p:spPr>
      </p:pic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4060387646"/>
              </p:ext>
            </p:extLst>
          </p:nvPr>
        </p:nvGraphicFramePr>
        <p:xfrm>
          <a:off x="695250" y="1916832"/>
          <a:ext cx="4928096" cy="43879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767408" y="3973770"/>
            <a:ext cx="3846753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ключено в план проведения диспансеризации 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а текущий год с учетом возрастной категор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09087" y="2492822"/>
            <a:ext cx="4494825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шли 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испансеризацию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839416" y="2874358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56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, из них: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839416" y="4363427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56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 , из них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681162" y="5513715"/>
            <a:ext cx="4494825" cy="81560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тоги диспансеризации: </a:t>
            </a:r>
          </a:p>
          <a:p>
            <a:pPr marL="71755" marR="71755">
              <a:spcAft>
                <a:spcPts val="0"/>
              </a:spcAft>
            </a:pPr>
            <a:r>
              <a:rPr lang="ru-RU" sz="1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 группа здоровья - 100%</a:t>
            </a:r>
          </a:p>
          <a:p>
            <a:pPr marL="71755" marR="71755">
              <a:spcAft>
                <a:spcPts val="0"/>
              </a:spcAft>
            </a:pPr>
            <a:r>
              <a:rPr lang="ru-RU" sz="1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 дети находятся под диспансерным наблюдением врачей-специалистов</a:t>
            </a:r>
            <a:endParaRPr lang="en-US" sz="11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573054"/>
            <a:ext cx="6456040" cy="602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5755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1935"/>
          <a:stretch/>
        </p:blipFill>
        <p:spPr>
          <a:xfrm>
            <a:off x="0" y="-90476"/>
            <a:ext cx="12192000" cy="6975860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695325" y="549275"/>
            <a:ext cx="5760715" cy="0"/>
          </a:xfrm>
          <a:prstGeom prst="line">
            <a:avLst/>
          </a:prstGeom>
          <a:ln w="57150">
            <a:solidFill>
              <a:srgbClr val="9FC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1" r="33900"/>
          <a:stretch/>
        </p:blipFill>
        <p:spPr>
          <a:xfrm>
            <a:off x="6888088" y="-193183"/>
            <a:ext cx="5303912" cy="7114669"/>
          </a:xfrm>
          <a:prstGeom prst="rect">
            <a:avLst/>
          </a:prstGeom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5544692" cy="863501"/>
          </a:xfrm>
        </p:spPr>
        <p:txBody>
          <a:bodyPr anchor="t"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борудование поликлиники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95324" y="1556792"/>
            <a:ext cx="4320556" cy="4032448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одержимое 3"/>
          <p:cNvSpPr>
            <a:spLocks noGrp="1"/>
          </p:cNvSpPr>
          <p:nvPr>
            <p:ph sz="half" idx="1"/>
          </p:nvPr>
        </p:nvSpPr>
        <p:spPr>
          <a:xfrm>
            <a:off x="911424" y="1745433"/>
            <a:ext cx="5328592" cy="4203847"/>
          </a:xfrm>
        </p:spPr>
        <p:txBody>
          <a:bodyPr>
            <a:normAutofit/>
          </a:bodyPr>
          <a:lstStyle/>
          <a:p>
            <a:pPr lvl="0">
              <a:lnSpc>
                <a:spcPct val="130000"/>
              </a:lnSpc>
            </a:pP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нтгеновский комплекс 	3 ед. (1 ед.)</a:t>
            </a:r>
          </a:p>
          <a:p>
            <a:pPr lvl="0">
              <a:lnSpc>
                <a:spcPct val="130000"/>
              </a:lnSpc>
            </a:pP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ЗИ 			14 ед. (2 ед.)</a:t>
            </a:r>
          </a:p>
          <a:p>
            <a:pPr marL="0" lvl="0" indent="0">
              <a:lnSpc>
                <a:spcPct val="130000"/>
              </a:lnSpc>
              <a:buNone/>
            </a:pP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</a:t>
            </a:r>
            <a:r>
              <a:rPr lang="ru-RU" sz="1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Холтер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3 ед. (1 ед.)</a:t>
            </a:r>
          </a:p>
          <a:p>
            <a:pPr lvl="0">
              <a:lnSpc>
                <a:spcPct val="130000"/>
              </a:lnSpc>
            </a:pP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МАД 			3 ед. (1 ед.)</a:t>
            </a:r>
          </a:p>
          <a:p>
            <a:pPr lvl="0">
              <a:lnSpc>
                <a:spcPct val="130000"/>
              </a:lnSpc>
            </a:pP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Эхоэнцефалографов	4 ед.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5309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1935"/>
          <a:stretch/>
        </p:blipFill>
        <p:spPr>
          <a:xfrm>
            <a:off x="0" y="-117860"/>
            <a:ext cx="12192000" cy="6975860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9FC6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807192" y="535211"/>
            <a:ext cx="10515600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адры 2025 года (Фили-Давыдково)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12"/>
          <p:cNvSpPr/>
          <p:nvPr/>
        </p:nvSpPr>
        <p:spPr>
          <a:xfrm>
            <a:off x="479376" y="1669262"/>
            <a:ext cx="11171233" cy="3356108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4" name="Диаграмма 13"/>
          <p:cNvGraphicFramePr/>
          <p:nvPr/>
        </p:nvGraphicFramePr>
        <p:xfrm>
          <a:off x="609802" y="1124744"/>
          <a:ext cx="3397966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Диаграмма 15"/>
          <p:cNvGraphicFramePr/>
          <p:nvPr/>
        </p:nvGraphicFramePr>
        <p:xfrm>
          <a:off x="4076813" y="1083135"/>
          <a:ext cx="3600400" cy="4259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Диаграмма 19"/>
          <p:cNvGraphicFramePr/>
          <p:nvPr/>
        </p:nvGraphicFramePr>
        <p:xfrm>
          <a:off x="7618161" y="1412776"/>
          <a:ext cx="3590407" cy="3712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Заголовок 1"/>
          <p:cNvSpPr txBox="1">
            <a:spLocks/>
          </p:cNvSpPr>
          <p:nvPr/>
        </p:nvSpPr>
        <p:spPr>
          <a:xfrm>
            <a:off x="1559496" y="2595662"/>
            <a:ext cx="1152053" cy="9053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6,50</a:t>
            </a:r>
          </a:p>
          <a:p>
            <a:pPr algn="ctr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авки всего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5150677" y="2595663"/>
            <a:ext cx="1326267" cy="905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5,5</a:t>
            </a:r>
          </a:p>
          <a:p>
            <a:pPr algn="ctr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авок всего</a:t>
            </a: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8832304" y="2852937"/>
            <a:ext cx="1326267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6,25</a:t>
            </a:r>
          </a:p>
          <a:p>
            <a:pPr algn="ctr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авок всего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711549" y="5730354"/>
            <a:ext cx="88570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 2025 год было принято на работу 21 медицинский работник</a:t>
            </a:r>
          </a:p>
          <a:p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вышение квалификации прошли </a:t>
            </a:r>
            <a:r>
              <a:rPr lang="ru-RU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3</a:t>
            </a: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человека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40" y="5025370"/>
            <a:ext cx="1355958" cy="135595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7076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3EDBA9E-8FDD-49F3-860C-B91C75A5A1FB}"/>
              </a:ext>
            </a:extLst>
          </p:cNvPr>
          <p:cNvSpPr/>
          <p:nvPr/>
        </p:nvSpPr>
        <p:spPr>
          <a:xfrm>
            <a:off x="596900" y="954048"/>
            <a:ext cx="9283700" cy="18000"/>
          </a:xfrm>
          <a:prstGeom prst="rect">
            <a:avLst/>
          </a:prstGeom>
          <a:solidFill>
            <a:srgbClr val="1B2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10E198A-6544-4AFA-BFDA-1AC2DB1266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627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3EF1A2-0334-4349-A0BA-6DDC83356BB6}"/>
              </a:ext>
            </a:extLst>
          </p:cNvPr>
          <p:cNvSpPr txBox="1"/>
          <p:nvPr/>
        </p:nvSpPr>
        <p:spPr>
          <a:xfrm>
            <a:off x="1163344" y="368300"/>
            <a:ext cx="76885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i="0" u="none" strike="noStrike" dirty="0">
                <a:solidFill>
                  <a:srgbClr val="1B2E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адровое развитие</a:t>
            </a:r>
            <a:endParaRPr lang="ru-RU" sz="3000" dirty="0">
              <a:solidFill>
                <a:srgbClr val="1B2E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6D370BC-1279-43AB-B90F-B7B96EA35D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712767">
            <a:off x="578088" y="519827"/>
            <a:ext cx="336318" cy="351103"/>
          </a:xfrm>
          <a:prstGeom prst="rect">
            <a:avLst/>
          </a:prstGeom>
        </p:spPr>
      </p:pic>
      <p:pic>
        <p:nvPicPr>
          <p:cNvPr id="100" name="Рисунок 99">
            <a:extLst>
              <a:ext uri="{FF2B5EF4-FFF2-40B4-BE49-F238E27FC236}">
                <a16:creationId xmlns:a16="http://schemas.microsoft.com/office/drawing/2014/main" id="{7B70E659-732E-4B29-96AA-05D9349E85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56152" y="545907"/>
            <a:ext cx="1364438" cy="404418"/>
          </a:xfrm>
          <a:prstGeom prst="rect">
            <a:avLst/>
          </a:prstGeom>
        </p:spPr>
      </p:pic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046C9C4D-373B-452E-8543-D38BDA469A94}"/>
              </a:ext>
            </a:extLst>
          </p:cNvPr>
          <p:cNvSpPr/>
          <p:nvPr/>
        </p:nvSpPr>
        <p:spPr>
          <a:xfrm>
            <a:off x="702904" y="1544883"/>
            <a:ext cx="3460225" cy="4217206"/>
          </a:xfrm>
          <a:prstGeom prst="roundRect">
            <a:avLst>
              <a:gd name="adj" fmla="val 9652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5858AE4-408A-4B2B-8F85-64372B8EE7E7}"/>
              </a:ext>
            </a:extLst>
          </p:cNvPr>
          <p:cNvSpPr txBox="1"/>
          <p:nvPr/>
        </p:nvSpPr>
        <p:spPr>
          <a:xfrm>
            <a:off x="933863" y="2431806"/>
            <a:ext cx="1912954" cy="656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адровый центр -</a:t>
            </a:r>
            <a:endParaRPr lang="ru-RU" sz="2200" dirty="0">
              <a:solidFill>
                <a:srgbClr val="A4B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17F27EF-EE47-442E-9F8A-43272E94C525}"/>
              </a:ext>
            </a:extLst>
          </p:cNvPr>
          <p:cNvSpPr txBox="1"/>
          <p:nvPr/>
        </p:nvSpPr>
        <p:spPr>
          <a:xfrm>
            <a:off x="950367" y="3079237"/>
            <a:ext cx="313524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то уникальная площадка, которая дает возможность специалистам получать теоретические и практические навыки и знания</a:t>
            </a:r>
            <a:endParaRPr lang="ru-RU" sz="14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1" name="Шестиугольник 40">
            <a:extLst>
              <a:ext uri="{FF2B5EF4-FFF2-40B4-BE49-F238E27FC236}">
                <a16:creationId xmlns:a16="http://schemas.microsoft.com/office/drawing/2014/main" id="{6B86AC17-2ACE-4B6D-9AB7-B6E2EC57C8A7}"/>
              </a:ext>
            </a:extLst>
          </p:cNvPr>
          <p:cNvSpPr/>
          <p:nvPr/>
        </p:nvSpPr>
        <p:spPr>
          <a:xfrm>
            <a:off x="1045782" y="4522485"/>
            <a:ext cx="1013608" cy="873800"/>
          </a:xfrm>
          <a:prstGeom prst="hexagon">
            <a:avLst/>
          </a:prstGeom>
          <a:solidFill>
            <a:srgbClr val="FDDD51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CB4726-952A-4149-BF68-2E9FAF6B7253}"/>
              </a:ext>
            </a:extLst>
          </p:cNvPr>
          <p:cNvSpPr txBox="1"/>
          <p:nvPr/>
        </p:nvSpPr>
        <p:spPr>
          <a:xfrm>
            <a:off x="1180985" y="4578059"/>
            <a:ext cx="2358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&gt; </a:t>
            </a:r>
            <a:r>
              <a:rPr lang="ru-RU" sz="24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00</a:t>
            </a:r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единиц</a:t>
            </a:r>
            <a:endParaRPr lang="ru-RU" sz="1600" b="1" dirty="0">
              <a:solidFill>
                <a:srgbClr val="7E903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5A325B8-54EE-4B81-B359-EEA1B363144D}"/>
              </a:ext>
            </a:extLst>
          </p:cNvPr>
          <p:cNvSpPr txBox="1"/>
          <p:nvPr/>
        </p:nvSpPr>
        <p:spPr>
          <a:xfrm>
            <a:off x="1442335" y="4935123"/>
            <a:ext cx="2440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ременного медицинского и </a:t>
            </a:r>
            <a:r>
              <a:rPr lang="ru-RU" sz="1200" b="0" i="0" u="none" strike="noStrike" dirty="0" err="1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муляционного</a:t>
            </a:r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борудования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6C943A7B-63CC-4AEF-A746-A21F0D615B7A}"/>
              </a:ext>
            </a:extLst>
          </p:cNvPr>
          <p:cNvSpPr/>
          <p:nvPr/>
        </p:nvSpPr>
        <p:spPr>
          <a:xfrm>
            <a:off x="4352948" y="1530973"/>
            <a:ext cx="3460225" cy="4217206"/>
          </a:xfrm>
          <a:prstGeom prst="roundRect">
            <a:avLst>
              <a:gd name="adj" fmla="val 9652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2A687D8-8EF3-48D9-BE0E-702E31539728}"/>
              </a:ext>
            </a:extLst>
          </p:cNvPr>
          <p:cNvSpPr txBox="1"/>
          <p:nvPr/>
        </p:nvSpPr>
        <p:spPr>
          <a:xfrm>
            <a:off x="4480836" y="2431806"/>
            <a:ext cx="2685241" cy="374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ценка</a:t>
            </a:r>
            <a:endParaRPr lang="ru-RU" sz="2200" dirty="0">
              <a:solidFill>
                <a:srgbClr val="A4B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2F3B523-3912-46C9-9127-9C2D3A41DBDA}"/>
              </a:ext>
            </a:extLst>
          </p:cNvPr>
          <p:cNvSpPr txBox="1"/>
          <p:nvPr/>
        </p:nvSpPr>
        <p:spPr>
          <a:xfrm>
            <a:off x="4488869" y="2813342"/>
            <a:ext cx="31352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фессиональных компетенций</a:t>
            </a:r>
            <a:endParaRPr lang="ru-RU" sz="14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7" name="Шестиугольник 46">
            <a:extLst>
              <a:ext uri="{FF2B5EF4-FFF2-40B4-BE49-F238E27FC236}">
                <a16:creationId xmlns:a16="http://schemas.microsoft.com/office/drawing/2014/main" id="{28E0BE2C-B797-4C3C-B021-6F0354EA2933}"/>
              </a:ext>
            </a:extLst>
          </p:cNvPr>
          <p:cNvSpPr/>
          <p:nvPr/>
        </p:nvSpPr>
        <p:spPr>
          <a:xfrm>
            <a:off x="4498376" y="3646048"/>
            <a:ext cx="1013608" cy="873800"/>
          </a:xfrm>
          <a:prstGeom prst="hexagon">
            <a:avLst/>
          </a:prstGeom>
          <a:solidFill>
            <a:srgbClr val="FDDD51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00A4EFE-FC7C-4BB5-BED0-C2CF47272D54}"/>
              </a:ext>
            </a:extLst>
          </p:cNvPr>
          <p:cNvSpPr txBox="1"/>
          <p:nvPr/>
        </p:nvSpPr>
        <p:spPr>
          <a:xfrm>
            <a:off x="4435683" y="3685715"/>
            <a:ext cx="2071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&gt; </a:t>
            </a:r>
            <a:r>
              <a:rPr lang="ru-RU" sz="24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9,5</a:t>
            </a:r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</a:t>
            </a:r>
            <a:endParaRPr lang="ru-RU" sz="1600" b="1" dirty="0">
              <a:solidFill>
                <a:srgbClr val="7E903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F231D07-97A8-462F-BAF1-CA60A28393A7}"/>
              </a:ext>
            </a:extLst>
          </p:cNvPr>
          <p:cNvSpPr txBox="1"/>
          <p:nvPr/>
        </p:nvSpPr>
        <p:spPr>
          <a:xfrm>
            <a:off x="4601497" y="4074588"/>
            <a:ext cx="1580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рачей уже прошли оценку 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: скругленные углы 49">
            <a:extLst>
              <a:ext uri="{FF2B5EF4-FFF2-40B4-BE49-F238E27FC236}">
                <a16:creationId xmlns:a16="http://schemas.microsoft.com/office/drawing/2014/main" id="{8CFAFA35-A9A4-4098-B3DD-6E429D83D9E3}"/>
              </a:ext>
            </a:extLst>
          </p:cNvPr>
          <p:cNvSpPr/>
          <p:nvPr/>
        </p:nvSpPr>
        <p:spPr>
          <a:xfrm>
            <a:off x="8003511" y="1517063"/>
            <a:ext cx="3460225" cy="4217206"/>
          </a:xfrm>
          <a:prstGeom prst="roundRect">
            <a:avLst>
              <a:gd name="adj" fmla="val 9652"/>
            </a:avLst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64A8718-71BE-4E35-859F-327F1B78A77E}"/>
              </a:ext>
            </a:extLst>
          </p:cNvPr>
          <p:cNvSpPr txBox="1"/>
          <p:nvPr/>
        </p:nvSpPr>
        <p:spPr>
          <a:xfrm>
            <a:off x="8166002" y="2431806"/>
            <a:ext cx="2890664" cy="656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 начала</a:t>
            </a:r>
          </a:p>
          <a:p>
            <a:pPr>
              <a:lnSpc>
                <a:spcPts val="2200"/>
              </a:lnSpc>
            </a:pPr>
            <a:r>
              <a:rPr lang="ru-RU" sz="2200" b="1" i="0" u="none" strike="noStrike" dirty="0">
                <a:solidFill>
                  <a:srgbClr val="A4B8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022 года</a:t>
            </a:r>
            <a:endParaRPr lang="ru-RU" sz="2200" dirty="0">
              <a:solidFill>
                <a:srgbClr val="A4B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9E914A0-F53D-4525-BA92-ABC40DCD80E0}"/>
              </a:ext>
            </a:extLst>
          </p:cNvPr>
          <p:cNvSpPr txBox="1"/>
          <p:nvPr/>
        </p:nvSpPr>
        <p:spPr>
          <a:xfrm>
            <a:off x="8162920" y="3062047"/>
            <a:ext cx="31352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работано более 40 новых образовательных программ и тренингов</a:t>
            </a:r>
            <a:endParaRPr lang="ru-RU" sz="14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2" name="Шестиугольник 61">
            <a:extLst>
              <a:ext uri="{FF2B5EF4-FFF2-40B4-BE49-F238E27FC236}">
                <a16:creationId xmlns:a16="http://schemas.microsoft.com/office/drawing/2014/main" id="{40A34B9D-6428-4212-8DA8-6EA278925E9A}"/>
              </a:ext>
            </a:extLst>
          </p:cNvPr>
          <p:cNvSpPr/>
          <p:nvPr/>
        </p:nvSpPr>
        <p:spPr>
          <a:xfrm>
            <a:off x="5537851" y="4677116"/>
            <a:ext cx="1013608" cy="873800"/>
          </a:xfrm>
          <a:prstGeom prst="hexagon">
            <a:avLst/>
          </a:prstGeom>
          <a:solidFill>
            <a:srgbClr val="FDDD51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73291DA-2E1E-4C71-A0CB-D230443399F3}"/>
              </a:ext>
            </a:extLst>
          </p:cNvPr>
          <p:cNvSpPr txBox="1"/>
          <p:nvPr/>
        </p:nvSpPr>
        <p:spPr>
          <a:xfrm>
            <a:off x="5461572" y="4716783"/>
            <a:ext cx="10682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&gt; </a:t>
            </a:r>
            <a:r>
              <a:rPr lang="ru-RU" sz="24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0</a:t>
            </a:r>
            <a:endParaRPr lang="ru-RU" sz="1600" b="1" dirty="0">
              <a:solidFill>
                <a:srgbClr val="7E903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D3F0E6A-80E7-409C-B078-B96AC9D9C573}"/>
              </a:ext>
            </a:extLst>
          </p:cNvPr>
          <p:cNvSpPr txBox="1"/>
          <p:nvPr/>
        </p:nvSpPr>
        <p:spPr>
          <a:xfrm>
            <a:off x="5722923" y="5105656"/>
            <a:ext cx="1580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пециальностей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5" name="Шестиугольник 64">
            <a:extLst>
              <a:ext uri="{FF2B5EF4-FFF2-40B4-BE49-F238E27FC236}">
                <a16:creationId xmlns:a16="http://schemas.microsoft.com/office/drawing/2014/main" id="{C02E430C-8E01-44A8-8B2A-D073087C7291}"/>
              </a:ext>
            </a:extLst>
          </p:cNvPr>
          <p:cNvSpPr/>
          <p:nvPr/>
        </p:nvSpPr>
        <p:spPr>
          <a:xfrm>
            <a:off x="6302240" y="3642204"/>
            <a:ext cx="1013608" cy="873800"/>
          </a:xfrm>
          <a:prstGeom prst="hexagon">
            <a:avLst/>
          </a:prstGeom>
          <a:solidFill>
            <a:srgbClr val="FDDD51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D9C4DD9-41CB-488B-813B-8F011935C3B8}"/>
              </a:ext>
            </a:extLst>
          </p:cNvPr>
          <p:cNvSpPr txBox="1"/>
          <p:nvPr/>
        </p:nvSpPr>
        <p:spPr>
          <a:xfrm>
            <a:off x="6239547" y="3681871"/>
            <a:ext cx="2071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&gt; </a:t>
            </a:r>
            <a:r>
              <a:rPr lang="ru-RU" sz="24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2</a:t>
            </a:r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</a:t>
            </a:r>
            <a:endParaRPr lang="ru-RU" sz="1600" b="1" dirty="0">
              <a:solidFill>
                <a:srgbClr val="7E903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4E0DD0-7CD1-4682-AD9F-76ED1390EC84}"/>
              </a:ext>
            </a:extLst>
          </p:cNvPr>
          <p:cNvSpPr txBox="1"/>
          <p:nvPr/>
        </p:nvSpPr>
        <p:spPr>
          <a:xfrm>
            <a:off x="6419009" y="4070744"/>
            <a:ext cx="14239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ценочных процедур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8" name="Шестиугольник 67">
            <a:extLst>
              <a:ext uri="{FF2B5EF4-FFF2-40B4-BE49-F238E27FC236}">
                <a16:creationId xmlns:a16="http://schemas.microsoft.com/office/drawing/2014/main" id="{8898EEC1-5CF0-4541-A7E5-C05E8E046128}"/>
              </a:ext>
            </a:extLst>
          </p:cNvPr>
          <p:cNvSpPr/>
          <p:nvPr/>
        </p:nvSpPr>
        <p:spPr>
          <a:xfrm>
            <a:off x="8289949" y="4526348"/>
            <a:ext cx="1013608" cy="873800"/>
          </a:xfrm>
          <a:prstGeom prst="hexagon">
            <a:avLst/>
          </a:prstGeom>
          <a:solidFill>
            <a:srgbClr val="FDDD51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53FF387-188F-47ED-BA85-15575FFF8DD3}"/>
              </a:ext>
            </a:extLst>
          </p:cNvPr>
          <p:cNvSpPr txBox="1"/>
          <p:nvPr/>
        </p:nvSpPr>
        <p:spPr>
          <a:xfrm>
            <a:off x="8193136" y="4581922"/>
            <a:ext cx="2358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&gt; </a:t>
            </a:r>
            <a:r>
              <a:rPr lang="ru-RU" sz="24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4</a:t>
            </a:r>
            <a:r>
              <a:rPr lang="ru-RU" sz="1600" b="1" i="0" u="none" strike="noStrike" dirty="0">
                <a:solidFill>
                  <a:srgbClr val="7E903C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</a:t>
            </a:r>
            <a:endParaRPr lang="ru-RU" sz="1600" b="1" dirty="0">
              <a:solidFill>
                <a:srgbClr val="7E903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8A48DE9-25B6-485A-853E-1622F8E4BBE4}"/>
              </a:ext>
            </a:extLst>
          </p:cNvPr>
          <p:cNvSpPr txBox="1"/>
          <p:nvPr/>
        </p:nvSpPr>
        <p:spPr>
          <a:xfrm>
            <a:off x="8454486" y="4938986"/>
            <a:ext cx="24409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рачей прошли повышение квалификации</a:t>
            </a:r>
            <a:endParaRPr lang="ru-RU" sz="1200" dirty="0">
              <a:solidFill>
                <a:srgbClr val="1B2E5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7D101265-F1ED-4A06-965C-D4106488957D}"/>
              </a:ext>
            </a:extLst>
          </p:cNvPr>
          <p:cNvGrpSpPr/>
          <p:nvPr/>
        </p:nvGrpSpPr>
        <p:grpSpPr>
          <a:xfrm>
            <a:off x="9589995" y="3901163"/>
            <a:ext cx="1885153" cy="874303"/>
            <a:chOff x="8279128" y="4718627"/>
            <a:chExt cx="1885153" cy="874303"/>
          </a:xfrm>
        </p:grpSpPr>
        <p:sp>
          <p:nvSpPr>
            <p:cNvPr id="72" name="Шестиугольник 71">
              <a:extLst>
                <a:ext uri="{FF2B5EF4-FFF2-40B4-BE49-F238E27FC236}">
                  <a16:creationId xmlns:a16="http://schemas.microsoft.com/office/drawing/2014/main" id="{66B8F6AA-9693-458C-A000-6FC4B03773AC}"/>
                </a:ext>
              </a:extLst>
            </p:cNvPr>
            <p:cNvSpPr/>
            <p:nvPr/>
          </p:nvSpPr>
          <p:spPr>
            <a:xfrm>
              <a:off x="8279128" y="4718627"/>
              <a:ext cx="1013608" cy="873800"/>
            </a:xfrm>
            <a:prstGeom prst="hexagon">
              <a:avLst/>
            </a:prstGeom>
            <a:solidFill>
              <a:srgbClr val="FDDD51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0329B735-C1F6-42FB-9649-5DDB6B442B5B}"/>
                </a:ext>
              </a:extLst>
            </p:cNvPr>
            <p:cNvSpPr txBox="1"/>
            <p:nvPr/>
          </p:nvSpPr>
          <p:spPr>
            <a:xfrm>
              <a:off x="8351548" y="4774201"/>
              <a:ext cx="6183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i="0" u="none" strike="noStrike" dirty="0">
                  <a:solidFill>
                    <a:srgbClr val="7E903C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13</a:t>
              </a:r>
              <a:endParaRPr lang="ru-RU" sz="1600" b="1" dirty="0">
                <a:solidFill>
                  <a:srgbClr val="7E90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668B2D81-B0F7-4F94-9333-217985245742}"/>
                </a:ext>
              </a:extLst>
            </p:cNvPr>
            <p:cNvSpPr txBox="1"/>
            <p:nvPr/>
          </p:nvSpPr>
          <p:spPr>
            <a:xfrm>
              <a:off x="8430019" y="5131265"/>
              <a:ext cx="17342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0" i="0" u="none" strike="noStrike" dirty="0">
                  <a:solidFill>
                    <a:srgbClr val="1B2E51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образовательных модулей</a:t>
              </a:r>
              <a:endParaRPr lang="ru-RU" sz="1200" dirty="0">
                <a:solidFill>
                  <a:srgbClr val="1B2E5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17D47E9D-3C3C-4E20-B3ED-F3293EA73D22}"/>
              </a:ext>
            </a:extLst>
          </p:cNvPr>
          <p:cNvSpPr txBox="1"/>
          <p:nvPr/>
        </p:nvSpPr>
        <p:spPr>
          <a:xfrm>
            <a:off x="951492" y="5934156"/>
            <a:ext cx="9901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0" u="none" strike="noStrike" dirty="0">
                <a:solidFill>
                  <a:srgbClr val="1B2E5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сего Центр аккредитован по </a:t>
            </a:r>
            <a:r>
              <a:rPr lang="ru-RU" b="1" i="0" u="none" strike="noStrike" dirty="0">
                <a:solidFill>
                  <a:srgbClr val="A4B856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9 врачебным специальностям</a:t>
            </a:r>
            <a:endParaRPr lang="ru-RU" b="1" dirty="0">
              <a:solidFill>
                <a:srgbClr val="A4B85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8A76AAAD-5615-45FC-BD6B-A51FC15F86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04" t="6170" r="26543" b="13913"/>
          <a:stretch>
            <a:fillRect/>
          </a:stretch>
        </p:blipFill>
        <p:spPr bwMode="auto">
          <a:xfrm>
            <a:off x="2477620" y="1159064"/>
            <a:ext cx="1842688" cy="1842688"/>
          </a:xfrm>
          <a:custGeom>
            <a:avLst/>
            <a:gdLst>
              <a:gd name="connsiteX0" fmla="*/ 921344 w 1842688"/>
              <a:gd name="connsiteY0" fmla="*/ 0 h 1842688"/>
              <a:gd name="connsiteX1" fmla="*/ 1842688 w 1842688"/>
              <a:gd name="connsiteY1" fmla="*/ 921344 h 1842688"/>
              <a:gd name="connsiteX2" fmla="*/ 921344 w 1842688"/>
              <a:gd name="connsiteY2" fmla="*/ 1842688 h 1842688"/>
              <a:gd name="connsiteX3" fmla="*/ 0 w 1842688"/>
              <a:gd name="connsiteY3" fmla="*/ 921344 h 1842688"/>
              <a:gd name="connsiteX4" fmla="*/ 921344 w 1842688"/>
              <a:gd name="connsiteY4" fmla="*/ 0 h 184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2688" h="1842688">
                <a:moveTo>
                  <a:pt x="921344" y="0"/>
                </a:moveTo>
                <a:cubicBezTo>
                  <a:pt x="1430188" y="0"/>
                  <a:pt x="1842688" y="412500"/>
                  <a:pt x="1842688" y="921344"/>
                </a:cubicBezTo>
                <a:cubicBezTo>
                  <a:pt x="1842688" y="1430188"/>
                  <a:pt x="1430188" y="1842688"/>
                  <a:pt x="921344" y="1842688"/>
                </a:cubicBezTo>
                <a:cubicBezTo>
                  <a:pt x="412500" y="1842688"/>
                  <a:pt x="0" y="1430188"/>
                  <a:pt x="0" y="921344"/>
                </a:cubicBezTo>
                <a:cubicBezTo>
                  <a:pt x="0" y="412500"/>
                  <a:pt x="412500" y="0"/>
                  <a:pt x="92134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EB984D94-4A7A-4D9C-AF9C-878C7F380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05" t="204" r="12482" b="1781"/>
          <a:stretch>
            <a:fillRect/>
          </a:stretch>
        </p:blipFill>
        <p:spPr bwMode="auto">
          <a:xfrm>
            <a:off x="6105882" y="1156254"/>
            <a:ext cx="1842688" cy="1842688"/>
          </a:xfrm>
          <a:custGeom>
            <a:avLst/>
            <a:gdLst>
              <a:gd name="connsiteX0" fmla="*/ 921344 w 1842688"/>
              <a:gd name="connsiteY0" fmla="*/ 0 h 1842688"/>
              <a:gd name="connsiteX1" fmla="*/ 1842688 w 1842688"/>
              <a:gd name="connsiteY1" fmla="*/ 921344 h 1842688"/>
              <a:gd name="connsiteX2" fmla="*/ 921344 w 1842688"/>
              <a:gd name="connsiteY2" fmla="*/ 1842688 h 1842688"/>
              <a:gd name="connsiteX3" fmla="*/ 0 w 1842688"/>
              <a:gd name="connsiteY3" fmla="*/ 921344 h 1842688"/>
              <a:gd name="connsiteX4" fmla="*/ 921344 w 1842688"/>
              <a:gd name="connsiteY4" fmla="*/ 0 h 184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2688" h="1842688">
                <a:moveTo>
                  <a:pt x="921344" y="0"/>
                </a:moveTo>
                <a:cubicBezTo>
                  <a:pt x="1430188" y="0"/>
                  <a:pt x="1842688" y="412500"/>
                  <a:pt x="1842688" y="921344"/>
                </a:cubicBezTo>
                <a:cubicBezTo>
                  <a:pt x="1842688" y="1430188"/>
                  <a:pt x="1430188" y="1842688"/>
                  <a:pt x="921344" y="1842688"/>
                </a:cubicBezTo>
                <a:cubicBezTo>
                  <a:pt x="412500" y="1842688"/>
                  <a:pt x="0" y="1430188"/>
                  <a:pt x="0" y="921344"/>
                </a:cubicBezTo>
                <a:cubicBezTo>
                  <a:pt x="0" y="412500"/>
                  <a:pt x="412500" y="0"/>
                  <a:pt x="92134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2DD238D3-2069-4AB4-A94D-1CD415FF5D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22" t="8416" r="31419" b="39871"/>
          <a:stretch/>
        </p:blipFill>
        <p:spPr bwMode="auto">
          <a:xfrm>
            <a:off x="9798972" y="1156254"/>
            <a:ext cx="1842688" cy="1842688"/>
          </a:xfrm>
          <a:custGeom>
            <a:avLst/>
            <a:gdLst>
              <a:gd name="connsiteX0" fmla="*/ 921344 w 1842688"/>
              <a:gd name="connsiteY0" fmla="*/ 0 h 1842688"/>
              <a:gd name="connsiteX1" fmla="*/ 1842688 w 1842688"/>
              <a:gd name="connsiteY1" fmla="*/ 921344 h 1842688"/>
              <a:gd name="connsiteX2" fmla="*/ 921344 w 1842688"/>
              <a:gd name="connsiteY2" fmla="*/ 1842688 h 1842688"/>
              <a:gd name="connsiteX3" fmla="*/ 0 w 1842688"/>
              <a:gd name="connsiteY3" fmla="*/ 921344 h 1842688"/>
              <a:gd name="connsiteX4" fmla="*/ 921344 w 1842688"/>
              <a:gd name="connsiteY4" fmla="*/ 0 h 184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2688" h="1842688">
                <a:moveTo>
                  <a:pt x="921344" y="0"/>
                </a:moveTo>
                <a:cubicBezTo>
                  <a:pt x="1430188" y="0"/>
                  <a:pt x="1842688" y="412500"/>
                  <a:pt x="1842688" y="921344"/>
                </a:cubicBezTo>
                <a:cubicBezTo>
                  <a:pt x="1842688" y="1430188"/>
                  <a:pt x="1430188" y="1842688"/>
                  <a:pt x="921344" y="1842688"/>
                </a:cubicBezTo>
                <a:cubicBezTo>
                  <a:pt x="412500" y="1842688"/>
                  <a:pt x="0" y="1430188"/>
                  <a:pt x="0" y="921344"/>
                </a:cubicBezTo>
                <a:cubicBezTo>
                  <a:pt x="0" y="412500"/>
                  <a:pt x="412500" y="0"/>
                  <a:pt x="92134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734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92D050"/>
      </a:accent1>
      <a:accent2>
        <a:srgbClr val="ED7D31"/>
      </a:accent2>
      <a:accent3>
        <a:srgbClr val="A5A5A5"/>
      </a:accent3>
      <a:accent4>
        <a:srgbClr val="FFC000"/>
      </a:accent4>
      <a:accent5>
        <a:srgbClr val="92D050"/>
      </a:accent5>
      <a:accent6>
        <a:srgbClr val="70AD47"/>
      </a:accent6>
      <a:hlink>
        <a:srgbClr val="92D050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Годовой отчет_дети_main_11022020.pptx" id="{5BAC713E-3999-4094-A7C9-AA0A68BC8D6D}" vid="{CBD9D996-9081-460F-B100-0F2CD6BC123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6561</TotalTime>
  <Words>1182</Words>
  <Application>Microsoft Office PowerPoint</Application>
  <PresentationFormat>Широкоэкранный</PresentationFormat>
  <Paragraphs>259</Paragraphs>
  <Slides>18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6" baseType="lpstr">
      <vt:lpstr>Arial</vt:lpstr>
      <vt:lpstr>Bodoni MT Black</vt:lpstr>
      <vt:lpstr>Calibri</vt:lpstr>
      <vt:lpstr>Calibri Light</vt:lpstr>
      <vt:lpstr>Roboto</vt:lpstr>
      <vt:lpstr>Verdana</vt:lpstr>
      <vt:lpstr>Тема Office</vt:lpstr>
      <vt:lpstr>Слайд think-cell</vt:lpstr>
      <vt:lpstr>Годовой отчет за 2025 год Совету депутатов района Фили-Давыдково главного врача ГБУЗ «ДГП №130 ДЗМ» Елисова В.Н.</vt:lpstr>
      <vt:lpstr>Презентация PowerPoint</vt:lpstr>
      <vt:lpstr>Основные показатели работы</vt:lpstr>
      <vt:lpstr>Медицинское наблюдение и вакцинация новорожденных  - 1 978ребенок</vt:lpstr>
      <vt:lpstr>Посещения поликлиники в 2025 году </vt:lpstr>
      <vt:lpstr>Дети-сироты, находящиеся в ГКУ ЦСПР «Дом Детей» ДТиСЗН г.Москвы</vt:lpstr>
      <vt:lpstr>Оборудование поликлиники</vt:lpstr>
      <vt:lpstr>Кадры 2025 года (Фили-Давыдково)</vt:lpstr>
      <vt:lpstr>Презентация PowerPoint</vt:lpstr>
      <vt:lpstr>Мероприятия в поликлинике, реализованные в 2025 году</vt:lpstr>
      <vt:lpstr>Презентация PowerPoint</vt:lpstr>
      <vt:lpstr>Работа по рассмотрению жалоб и обращений граждан</vt:lpstr>
      <vt:lpstr>Презентация PowerPoint</vt:lpstr>
      <vt:lpstr>Презентация PowerPoint</vt:lpstr>
      <vt:lpstr>Презентация PowerPoint</vt:lpstr>
      <vt:lpstr>Презентация PowerPoint</vt:lpstr>
      <vt:lpstr>ГБУЗ ”ДГП130 ДЗМ” Елисов Виктор Николаевич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одовой отчет</dc:title>
  <dc:creator>Тихонов Евгений Юрьевич</dc:creator>
  <cp:lastModifiedBy>user</cp:lastModifiedBy>
  <cp:revision>326</cp:revision>
  <cp:lastPrinted>2023-01-31T07:44:19Z</cp:lastPrinted>
  <dcterms:created xsi:type="dcterms:W3CDTF">2019-02-11T07:19:05Z</dcterms:created>
  <dcterms:modified xsi:type="dcterms:W3CDTF">2026-02-02T07:24:02Z</dcterms:modified>
</cp:coreProperties>
</file>